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
  </p:notesMasterIdLst>
  <p:sldIdLst>
    <p:sldId id="285" r:id="rId2"/>
    <p:sldId id="276" r:id="rId3"/>
    <p:sldId id="277" r:id="rId4"/>
    <p:sldId id="278" r:id="rId5"/>
    <p:sldId id="279" r:id="rId6"/>
    <p:sldId id="280" r:id="rId7"/>
    <p:sldId id="281" r:id="rId8"/>
    <p:sldId id="296" r:id="rId9"/>
    <p:sldId id="297" r:id="rId10"/>
    <p:sldId id="282" r:id="rId11"/>
    <p:sldId id="283" r:id="rId12"/>
    <p:sldId id="290" r:id="rId13"/>
    <p:sldId id="273" r:id="rId14"/>
    <p:sldId id="299" r:id="rId15"/>
    <p:sldId id="300" r:id="rId16"/>
    <p:sldId id="301" r:id="rId17"/>
    <p:sldId id="302" r:id="rId18"/>
    <p:sldId id="303" r:id="rId19"/>
    <p:sldId id="262" r:id="rId20"/>
    <p:sldId id="263" r:id="rId21"/>
    <p:sldId id="264" r:id="rId22"/>
    <p:sldId id="265" r:id="rId23"/>
    <p:sldId id="266" r:id="rId24"/>
    <p:sldId id="257" r:id="rId25"/>
    <p:sldId id="258" r:id="rId26"/>
    <p:sldId id="259" r:id="rId27"/>
    <p:sldId id="260" r:id="rId28"/>
  </p:sldIdLst>
  <p:sldSz cx="9144000" cy="6858000" type="screen4x3"/>
  <p:notesSz cx="6858000" cy="91440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76" d="100"/>
          <a:sy n="76" d="100"/>
        </p:scale>
        <p:origin x="-1206" y="1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752597706108677E-2"/>
          <c:y val="2.219394589224221E-2"/>
          <c:w val="0.88273099424215806"/>
          <c:h val="0.95561210821551568"/>
        </c:manualLayout>
      </c:layout>
      <c:areaChart>
        <c:grouping val="standard"/>
        <c:varyColors val="0"/>
        <c:ser>
          <c:idx val="4"/>
          <c:order val="4"/>
          <c:tx>
            <c:strRef>
              <c:f>[DATA.xlsx]Sheet1!$AD$3</c:f>
              <c:strCache>
                <c:ptCount val="1"/>
                <c:pt idx="0">
                  <c:v>ΟΕΔ 10ετών (απόδοση - rhs)</c:v>
                </c:pt>
              </c:strCache>
            </c:strRef>
          </c:tx>
          <c:spPr>
            <a:solidFill>
              <a:schemeClr val="tx2">
                <a:lumMod val="20000"/>
                <a:lumOff val="80000"/>
              </a:schemeClr>
            </a:solidFill>
            <a:ln>
              <a:noFill/>
            </a:ln>
          </c:spPr>
          <c:cat>
            <c:numRef>
              <c:f>[DATA.xlsx]Sheet1!$Y$4:$Y$520</c:f>
              <c:numCache>
                <c:formatCode>m/d/yyyy</c:formatCode>
                <c:ptCount val="517"/>
                <c:pt idx="0">
                  <c:v>39087</c:v>
                </c:pt>
                <c:pt idx="1">
                  <c:v>39094</c:v>
                </c:pt>
                <c:pt idx="2">
                  <c:v>39101</c:v>
                </c:pt>
                <c:pt idx="3">
                  <c:v>39108</c:v>
                </c:pt>
                <c:pt idx="4">
                  <c:v>39115</c:v>
                </c:pt>
                <c:pt idx="5">
                  <c:v>39122</c:v>
                </c:pt>
                <c:pt idx="6">
                  <c:v>39129</c:v>
                </c:pt>
                <c:pt idx="7">
                  <c:v>39136</c:v>
                </c:pt>
                <c:pt idx="8">
                  <c:v>39143</c:v>
                </c:pt>
                <c:pt idx="9">
                  <c:v>39150</c:v>
                </c:pt>
                <c:pt idx="10">
                  <c:v>39157</c:v>
                </c:pt>
                <c:pt idx="11">
                  <c:v>39164</c:v>
                </c:pt>
                <c:pt idx="12">
                  <c:v>39171</c:v>
                </c:pt>
                <c:pt idx="13">
                  <c:v>39178</c:v>
                </c:pt>
                <c:pt idx="14">
                  <c:v>39185</c:v>
                </c:pt>
                <c:pt idx="15">
                  <c:v>39192</c:v>
                </c:pt>
                <c:pt idx="16">
                  <c:v>39199</c:v>
                </c:pt>
                <c:pt idx="17">
                  <c:v>39206</c:v>
                </c:pt>
                <c:pt idx="18">
                  <c:v>39213</c:v>
                </c:pt>
                <c:pt idx="19">
                  <c:v>39220</c:v>
                </c:pt>
                <c:pt idx="20">
                  <c:v>39227</c:v>
                </c:pt>
                <c:pt idx="21">
                  <c:v>39234</c:v>
                </c:pt>
                <c:pt idx="22">
                  <c:v>39241</c:v>
                </c:pt>
                <c:pt idx="23">
                  <c:v>39248</c:v>
                </c:pt>
                <c:pt idx="24">
                  <c:v>39255</c:v>
                </c:pt>
                <c:pt idx="25">
                  <c:v>39262</c:v>
                </c:pt>
                <c:pt idx="26">
                  <c:v>39269</c:v>
                </c:pt>
                <c:pt idx="27">
                  <c:v>39276</c:v>
                </c:pt>
                <c:pt idx="28">
                  <c:v>39283</c:v>
                </c:pt>
                <c:pt idx="29">
                  <c:v>39290</c:v>
                </c:pt>
                <c:pt idx="30">
                  <c:v>39297</c:v>
                </c:pt>
                <c:pt idx="31">
                  <c:v>39304</c:v>
                </c:pt>
                <c:pt idx="32">
                  <c:v>39311</c:v>
                </c:pt>
                <c:pt idx="33">
                  <c:v>39318</c:v>
                </c:pt>
                <c:pt idx="34">
                  <c:v>39325</c:v>
                </c:pt>
                <c:pt idx="35">
                  <c:v>39332</c:v>
                </c:pt>
                <c:pt idx="36">
                  <c:v>39339</c:v>
                </c:pt>
                <c:pt idx="37">
                  <c:v>39346</c:v>
                </c:pt>
                <c:pt idx="38">
                  <c:v>39353</c:v>
                </c:pt>
                <c:pt idx="39">
                  <c:v>39360</c:v>
                </c:pt>
                <c:pt idx="40">
                  <c:v>39367</c:v>
                </c:pt>
                <c:pt idx="41">
                  <c:v>39374</c:v>
                </c:pt>
                <c:pt idx="42">
                  <c:v>39381</c:v>
                </c:pt>
                <c:pt idx="43">
                  <c:v>39388</c:v>
                </c:pt>
                <c:pt idx="44">
                  <c:v>39395</c:v>
                </c:pt>
                <c:pt idx="45">
                  <c:v>39402</c:v>
                </c:pt>
                <c:pt idx="46">
                  <c:v>39409</c:v>
                </c:pt>
                <c:pt idx="47">
                  <c:v>39416</c:v>
                </c:pt>
                <c:pt idx="48">
                  <c:v>39423</c:v>
                </c:pt>
                <c:pt idx="49">
                  <c:v>39430</c:v>
                </c:pt>
                <c:pt idx="50">
                  <c:v>39437</c:v>
                </c:pt>
                <c:pt idx="51">
                  <c:v>39444</c:v>
                </c:pt>
                <c:pt idx="52">
                  <c:v>39451</c:v>
                </c:pt>
                <c:pt idx="53">
                  <c:v>39458</c:v>
                </c:pt>
                <c:pt idx="54">
                  <c:v>39465</c:v>
                </c:pt>
                <c:pt idx="55">
                  <c:v>39472</c:v>
                </c:pt>
                <c:pt idx="56">
                  <c:v>39479</c:v>
                </c:pt>
                <c:pt idx="57">
                  <c:v>39486</c:v>
                </c:pt>
                <c:pt idx="58">
                  <c:v>39493</c:v>
                </c:pt>
                <c:pt idx="59">
                  <c:v>39500</c:v>
                </c:pt>
                <c:pt idx="60">
                  <c:v>39507</c:v>
                </c:pt>
                <c:pt idx="61">
                  <c:v>39514</c:v>
                </c:pt>
                <c:pt idx="62">
                  <c:v>39521</c:v>
                </c:pt>
                <c:pt idx="63">
                  <c:v>39528</c:v>
                </c:pt>
                <c:pt idx="64">
                  <c:v>39535</c:v>
                </c:pt>
                <c:pt idx="65">
                  <c:v>39542</c:v>
                </c:pt>
                <c:pt idx="66">
                  <c:v>39549</c:v>
                </c:pt>
                <c:pt idx="67">
                  <c:v>39556</c:v>
                </c:pt>
                <c:pt idx="68">
                  <c:v>39563</c:v>
                </c:pt>
                <c:pt idx="69">
                  <c:v>39570</c:v>
                </c:pt>
                <c:pt idx="70">
                  <c:v>39577</c:v>
                </c:pt>
                <c:pt idx="71">
                  <c:v>39584</c:v>
                </c:pt>
                <c:pt idx="72">
                  <c:v>39591</c:v>
                </c:pt>
                <c:pt idx="73">
                  <c:v>39598</c:v>
                </c:pt>
                <c:pt idx="74">
                  <c:v>39605</c:v>
                </c:pt>
                <c:pt idx="75">
                  <c:v>39612</c:v>
                </c:pt>
                <c:pt idx="76">
                  <c:v>39619</c:v>
                </c:pt>
                <c:pt idx="77">
                  <c:v>39626</c:v>
                </c:pt>
                <c:pt idx="78">
                  <c:v>39633</c:v>
                </c:pt>
                <c:pt idx="79">
                  <c:v>39640</c:v>
                </c:pt>
                <c:pt idx="80">
                  <c:v>39647</c:v>
                </c:pt>
                <c:pt idx="81">
                  <c:v>39654</c:v>
                </c:pt>
                <c:pt idx="82">
                  <c:v>39661</c:v>
                </c:pt>
                <c:pt idx="83">
                  <c:v>39668</c:v>
                </c:pt>
                <c:pt idx="84">
                  <c:v>39675</c:v>
                </c:pt>
                <c:pt idx="85">
                  <c:v>39682</c:v>
                </c:pt>
                <c:pt idx="86">
                  <c:v>39689</c:v>
                </c:pt>
                <c:pt idx="87">
                  <c:v>39696</c:v>
                </c:pt>
                <c:pt idx="88">
                  <c:v>39703</c:v>
                </c:pt>
                <c:pt idx="89">
                  <c:v>39710</c:v>
                </c:pt>
                <c:pt idx="90">
                  <c:v>39717</c:v>
                </c:pt>
                <c:pt idx="91">
                  <c:v>39724</c:v>
                </c:pt>
                <c:pt idx="92">
                  <c:v>39731</c:v>
                </c:pt>
                <c:pt idx="93">
                  <c:v>39738</c:v>
                </c:pt>
                <c:pt idx="94">
                  <c:v>39745</c:v>
                </c:pt>
                <c:pt idx="95">
                  <c:v>39752</c:v>
                </c:pt>
                <c:pt idx="96">
                  <c:v>39759</c:v>
                </c:pt>
                <c:pt idx="97">
                  <c:v>39766</c:v>
                </c:pt>
                <c:pt idx="98">
                  <c:v>39773</c:v>
                </c:pt>
                <c:pt idx="99">
                  <c:v>39780</c:v>
                </c:pt>
                <c:pt idx="100">
                  <c:v>39787</c:v>
                </c:pt>
                <c:pt idx="101">
                  <c:v>39794</c:v>
                </c:pt>
                <c:pt idx="102">
                  <c:v>39801</c:v>
                </c:pt>
                <c:pt idx="103">
                  <c:v>39808</c:v>
                </c:pt>
                <c:pt idx="104">
                  <c:v>39815</c:v>
                </c:pt>
                <c:pt idx="105">
                  <c:v>39822</c:v>
                </c:pt>
                <c:pt idx="106">
                  <c:v>39829</c:v>
                </c:pt>
                <c:pt idx="107">
                  <c:v>39836</c:v>
                </c:pt>
                <c:pt idx="108">
                  <c:v>39843</c:v>
                </c:pt>
                <c:pt idx="109">
                  <c:v>39850</c:v>
                </c:pt>
                <c:pt idx="110">
                  <c:v>39857</c:v>
                </c:pt>
                <c:pt idx="111">
                  <c:v>39864</c:v>
                </c:pt>
                <c:pt idx="112">
                  <c:v>39871</c:v>
                </c:pt>
                <c:pt idx="113">
                  <c:v>39878</c:v>
                </c:pt>
                <c:pt idx="114">
                  <c:v>39885</c:v>
                </c:pt>
                <c:pt idx="115">
                  <c:v>39892</c:v>
                </c:pt>
                <c:pt idx="116">
                  <c:v>39899</c:v>
                </c:pt>
                <c:pt idx="117">
                  <c:v>39906</c:v>
                </c:pt>
                <c:pt idx="118">
                  <c:v>39913</c:v>
                </c:pt>
                <c:pt idx="119">
                  <c:v>39920</c:v>
                </c:pt>
                <c:pt idx="120">
                  <c:v>39927</c:v>
                </c:pt>
                <c:pt idx="121">
                  <c:v>39934</c:v>
                </c:pt>
                <c:pt idx="122">
                  <c:v>39941</c:v>
                </c:pt>
                <c:pt idx="123">
                  <c:v>39948</c:v>
                </c:pt>
                <c:pt idx="124">
                  <c:v>39955</c:v>
                </c:pt>
                <c:pt idx="125">
                  <c:v>39962</c:v>
                </c:pt>
                <c:pt idx="126">
                  <c:v>39969</c:v>
                </c:pt>
                <c:pt idx="127">
                  <c:v>39976</c:v>
                </c:pt>
                <c:pt idx="128">
                  <c:v>39983</c:v>
                </c:pt>
                <c:pt idx="129">
                  <c:v>39990</c:v>
                </c:pt>
                <c:pt idx="130">
                  <c:v>39997</c:v>
                </c:pt>
                <c:pt idx="131">
                  <c:v>40004</c:v>
                </c:pt>
                <c:pt idx="132">
                  <c:v>40011</c:v>
                </c:pt>
                <c:pt idx="133">
                  <c:v>40018</c:v>
                </c:pt>
                <c:pt idx="134">
                  <c:v>40025</c:v>
                </c:pt>
                <c:pt idx="135">
                  <c:v>40032</c:v>
                </c:pt>
                <c:pt idx="136">
                  <c:v>40039</c:v>
                </c:pt>
                <c:pt idx="137">
                  <c:v>40046</c:v>
                </c:pt>
                <c:pt idx="138">
                  <c:v>40053</c:v>
                </c:pt>
                <c:pt idx="139">
                  <c:v>40060</c:v>
                </c:pt>
                <c:pt idx="140">
                  <c:v>40067</c:v>
                </c:pt>
                <c:pt idx="141">
                  <c:v>40074</c:v>
                </c:pt>
                <c:pt idx="142">
                  <c:v>40081</c:v>
                </c:pt>
                <c:pt idx="143">
                  <c:v>40088</c:v>
                </c:pt>
                <c:pt idx="144">
                  <c:v>40095</c:v>
                </c:pt>
                <c:pt idx="145">
                  <c:v>40102</c:v>
                </c:pt>
                <c:pt idx="146">
                  <c:v>40109</c:v>
                </c:pt>
                <c:pt idx="147">
                  <c:v>40116</c:v>
                </c:pt>
                <c:pt idx="148">
                  <c:v>40123</c:v>
                </c:pt>
                <c:pt idx="149">
                  <c:v>40130</c:v>
                </c:pt>
                <c:pt idx="150">
                  <c:v>40137</c:v>
                </c:pt>
                <c:pt idx="151">
                  <c:v>40144</c:v>
                </c:pt>
                <c:pt idx="152">
                  <c:v>40151</c:v>
                </c:pt>
                <c:pt idx="153">
                  <c:v>40158</c:v>
                </c:pt>
                <c:pt idx="154">
                  <c:v>40165</c:v>
                </c:pt>
                <c:pt idx="155">
                  <c:v>40172</c:v>
                </c:pt>
                <c:pt idx="156">
                  <c:v>40179</c:v>
                </c:pt>
                <c:pt idx="157">
                  <c:v>40186</c:v>
                </c:pt>
                <c:pt idx="158">
                  <c:v>40193</c:v>
                </c:pt>
                <c:pt idx="159">
                  <c:v>40200</c:v>
                </c:pt>
                <c:pt idx="160">
                  <c:v>40207</c:v>
                </c:pt>
                <c:pt idx="161">
                  <c:v>40214</c:v>
                </c:pt>
                <c:pt idx="162">
                  <c:v>40221</c:v>
                </c:pt>
                <c:pt idx="163">
                  <c:v>40228</c:v>
                </c:pt>
                <c:pt idx="164">
                  <c:v>40235</c:v>
                </c:pt>
                <c:pt idx="165">
                  <c:v>40242</c:v>
                </c:pt>
                <c:pt idx="166">
                  <c:v>40249</c:v>
                </c:pt>
                <c:pt idx="167">
                  <c:v>40256</c:v>
                </c:pt>
                <c:pt idx="168">
                  <c:v>40263</c:v>
                </c:pt>
                <c:pt idx="169">
                  <c:v>40270</c:v>
                </c:pt>
                <c:pt idx="170">
                  <c:v>40277</c:v>
                </c:pt>
                <c:pt idx="171">
                  <c:v>40284</c:v>
                </c:pt>
                <c:pt idx="172">
                  <c:v>40291</c:v>
                </c:pt>
                <c:pt idx="173">
                  <c:v>40298</c:v>
                </c:pt>
                <c:pt idx="174">
                  <c:v>40305</c:v>
                </c:pt>
                <c:pt idx="175">
                  <c:v>40312</c:v>
                </c:pt>
                <c:pt idx="176">
                  <c:v>40319</c:v>
                </c:pt>
                <c:pt idx="177">
                  <c:v>40326</c:v>
                </c:pt>
                <c:pt idx="178">
                  <c:v>40333</c:v>
                </c:pt>
                <c:pt idx="179">
                  <c:v>40340</c:v>
                </c:pt>
                <c:pt idx="180">
                  <c:v>40347</c:v>
                </c:pt>
                <c:pt idx="181">
                  <c:v>40354</c:v>
                </c:pt>
                <c:pt idx="182">
                  <c:v>40361</c:v>
                </c:pt>
                <c:pt idx="183">
                  <c:v>40368</c:v>
                </c:pt>
                <c:pt idx="184">
                  <c:v>40375</c:v>
                </c:pt>
                <c:pt idx="185">
                  <c:v>40382</c:v>
                </c:pt>
                <c:pt idx="186">
                  <c:v>40389</c:v>
                </c:pt>
                <c:pt idx="187">
                  <c:v>40396</c:v>
                </c:pt>
                <c:pt idx="188">
                  <c:v>40403</c:v>
                </c:pt>
                <c:pt idx="189">
                  <c:v>40410</c:v>
                </c:pt>
                <c:pt idx="190">
                  <c:v>40417</c:v>
                </c:pt>
                <c:pt idx="191">
                  <c:v>40424</c:v>
                </c:pt>
                <c:pt idx="192">
                  <c:v>40431</c:v>
                </c:pt>
                <c:pt idx="193">
                  <c:v>40438</c:v>
                </c:pt>
                <c:pt idx="194">
                  <c:v>40445</c:v>
                </c:pt>
                <c:pt idx="195">
                  <c:v>40452</c:v>
                </c:pt>
                <c:pt idx="196">
                  <c:v>40459</c:v>
                </c:pt>
                <c:pt idx="197">
                  <c:v>40466</c:v>
                </c:pt>
                <c:pt idx="198">
                  <c:v>40473</c:v>
                </c:pt>
                <c:pt idx="199">
                  <c:v>40480</c:v>
                </c:pt>
                <c:pt idx="200">
                  <c:v>40487</c:v>
                </c:pt>
                <c:pt idx="201">
                  <c:v>40494</c:v>
                </c:pt>
                <c:pt idx="202">
                  <c:v>40501</c:v>
                </c:pt>
                <c:pt idx="203">
                  <c:v>40508</c:v>
                </c:pt>
                <c:pt idx="204">
                  <c:v>40515</c:v>
                </c:pt>
                <c:pt idx="205">
                  <c:v>40522</c:v>
                </c:pt>
                <c:pt idx="206">
                  <c:v>40529</c:v>
                </c:pt>
                <c:pt idx="207">
                  <c:v>40536</c:v>
                </c:pt>
                <c:pt idx="208">
                  <c:v>40543</c:v>
                </c:pt>
                <c:pt idx="209">
                  <c:v>40550</c:v>
                </c:pt>
                <c:pt idx="210">
                  <c:v>40557</c:v>
                </c:pt>
                <c:pt idx="211">
                  <c:v>40564</c:v>
                </c:pt>
                <c:pt idx="212">
                  <c:v>40571</c:v>
                </c:pt>
                <c:pt idx="213">
                  <c:v>40578</c:v>
                </c:pt>
                <c:pt idx="214">
                  <c:v>40585</c:v>
                </c:pt>
                <c:pt idx="215">
                  <c:v>40592</c:v>
                </c:pt>
                <c:pt idx="216">
                  <c:v>40599</c:v>
                </c:pt>
                <c:pt idx="217">
                  <c:v>40606</c:v>
                </c:pt>
                <c:pt idx="218">
                  <c:v>40613</c:v>
                </c:pt>
                <c:pt idx="219">
                  <c:v>40620</c:v>
                </c:pt>
                <c:pt idx="220">
                  <c:v>40627</c:v>
                </c:pt>
                <c:pt idx="221">
                  <c:v>40634</c:v>
                </c:pt>
                <c:pt idx="222">
                  <c:v>40641</c:v>
                </c:pt>
                <c:pt idx="223">
                  <c:v>40648</c:v>
                </c:pt>
                <c:pt idx="224">
                  <c:v>40655</c:v>
                </c:pt>
                <c:pt idx="225">
                  <c:v>40662</c:v>
                </c:pt>
                <c:pt idx="226">
                  <c:v>40669</c:v>
                </c:pt>
                <c:pt idx="227">
                  <c:v>40676</c:v>
                </c:pt>
                <c:pt idx="228">
                  <c:v>40683</c:v>
                </c:pt>
                <c:pt idx="229">
                  <c:v>40690</c:v>
                </c:pt>
                <c:pt idx="230">
                  <c:v>40697</c:v>
                </c:pt>
                <c:pt idx="231">
                  <c:v>40704</c:v>
                </c:pt>
                <c:pt idx="232">
                  <c:v>40711</c:v>
                </c:pt>
                <c:pt idx="233">
                  <c:v>40718</c:v>
                </c:pt>
                <c:pt idx="234">
                  <c:v>40725</c:v>
                </c:pt>
                <c:pt idx="235">
                  <c:v>40732</c:v>
                </c:pt>
                <c:pt idx="236">
                  <c:v>40739</c:v>
                </c:pt>
                <c:pt idx="237">
                  <c:v>40746</c:v>
                </c:pt>
                <c:pt idx="238">
                  <c:v>40753</c:v>
                </c:pt>
                <c:pt idx="239">
                  <c:v>40760</c:v>
                </c:pt>
                <c:pt idx="240">
                  <c:v>40767</c:v>
                </c:pt>
                <c:pt idx="241">
                  <c:v>40774</c:v>
                </c:pt>
                <c:pt idx="242">
                  <c:v>40781</c:v>
                </c:pt>
                <c:pt idx="243">
                  <c:v>40788</c:v>
                </c:pt>
                <c:pt idx="244">
                  <c:v>40795</c:v>
                </c:pt>
                <c:pt idx="245">
                  <c:v>40802</c:v>
                </c:pt>
                <c:pt idx="246">
                  <c:v>40809</c:v>
                </c:pt>
                <c:pt idx="247">
                  <c:v>40816</c:v>
                </c:pt>
                <c:pt idx="248">
                  <c:v>40823</c:v>
                </c:pt>
                <c:pt idx="249">
                  <c:v>40830</c:v>
                </c:pt>
                <c:pt idx="250">
                  <c:v>40837</c:v>
                </c:pt>
                <c:pt idx="251">
                  <c:v>40844</c:v>
                </c:pt>
                <c:pt idx="252">
                  <c:v>40851</c:v>
                </c:pt>
                <c:pt idx="253">
                  <c:v>40858</c:v>
                </c:pt>
                <c:pt idx="254">
                  <c:v>40865</c:v>
                </c:pt>
                <c:pt idx="255">
                  <c:v>40872</c:v>
                </c:pt>
                <c:pt idx="256">
                  <c:v>40879</c:v>
                </c:pt>
                <c:pt idx="257">
                  <c:v>40886</c:v>
                </c:pt>
                <c:pt idx="258">
                  <c:v>40893</c:v>
                </c:pt>
                <c:pt idx="259">
                  <c:v>40900</c:v>
                </c:pt>
                <c:pt idx="260">
                  <c:v>40907</c:v>
                </c:pt>
                <c:pt idx="261">
                  <c:v>40914</c:v>
                </c:pt>
                <c:pt idx="262">
                  <c:v>40921</c:v>
                </c:pt>
                <c:pt idx="263">
                  <c:v>40928</c:v>
                </c:pt>
                <c:pt idx="264">
                  <c:v>40935</c:v>
                </c:pt>
                <c:pt idx="265">
                  <c:v>40942</c:v>
                </c:pt>
                <c:pt idx="266">
                  <c:v>40949</c:v>
                </c:pt>
                <c:pt idx="267">
                  <c:v>40956</c:v>
                </c:pt>
                <c:pt idx="268">
                  <c:v>40963</c:v>
                </c:pt>
                <c:pt idx="269">
                  <c:v>40970</c:v>
                </c:pt>
                <c:pt idx="270">
                  <c:v>40977</c:v>
                </c:pt>
                <c:pt idx="271">
                  <c:v>40984</c:v>
                </c:pt>
                <c:pt idx="272">
                  <c:v>40991</c:v>
                </c:pt>
                <c:pt idx="273">
                  <c:v>40998</c:v>
                </c:pt>
                <c:pt idx="274">
                  <c:v>41005</c:v>
                </c:pt>
                <c:pt idx="275">
                  <c:v>41012</c:v>
                </c:pt>
                <c:pt idx="276">
                  <c:v>41019</c:v>
                </c:pt>
                <c:pt idx="277">
                  <c:v>41026</c:v>
                </c:pt>
                <c:pt idx="278">
                  <c:v>41033</c:v>
                </c:pt>
                <c:pt idx="279">
                  <c:v>41040</c:v>
                </c:pt>
                <c:pt idx="280">
                  <c:v>41047</c:v>
                </c:pt>
                <c:pt idx="281">
                  <c:v>41054</c:v>
                </c:pt>
                <c:pt idx="282">
                  <c:v>41061</c:v>
                </c:pt>
                <c:pt idx="283">
                  <c:v>41068</c:v>
                </c:pt>
                <c:pt idx="284">
                  <c:v>41075</c:v>
                </c:pt>
                <c:pt idx="285">
                  <c:v>41082</c:v>
                </c:pt>
                <c:pt idx="286">
                  <c:v>41089</c:v>
                </c:pt>
                <c:pt idx="287">
                  <c:v>41096</c:v>
                </c:pt>
                <c:pt idx="288">
                  <c:v>41103</c:v>
                </c:pt>
                <c:pt idx="289">
                  <c:v>41110</c:v>
                </c:pt>
                <c:pt idx="290">
                  <c:v>41117</c:v>
                </c:pt>
                <c:pt idx="291">
                  <c:v>41124</c:v>
                </c:pt>
                <c:pt idx="292">
                  <c:v>41131</c:v>
                </c:pt>
                <c:pt idx="293">
                  <c:v>41138</c:v>
                </c:pt>
                <c:pt idx="294">
                  <c:v>41145</c:v>
                </c:pt>
                <c:pt idx="295">
                  <c:v>41152</c:v>
                </c:pt>
                <c:pt idx="296">
                  <c:v>41159</c:v>
                </c:pt>
                <c:pt idx="297">
                  <c:v>41166</c:v>
                </c:pt>
                <c:pt idx="298">
                  <c:v>41173</c:v>
                </c:pt>
                <c:pt idx="299">
                  <c:v>41180</c:v>
                </c:pt>
                <c:pt idx="300">
                  <c:v>41187</c:v>
                </c:pt>
                <c:pt idx="301">
                  <c:v>41194</c:v>
                </c:pt>
                <c:pt idx="302">
                  <c:v>41201</c:v>
                </c:pt>
                <c:pt idx="303">
                  <c:v>41208</c:v>
                </c:pt>
                <c:pt idx="304">
                  <c:v>41215</c:v>
                </c:pt>
                <c:pt idx="305">
                  <c:v>41222</c:v>
                </c:pt>
                <c:pt idx="306">
                  <c:v>41229</c:v>
                </c:pt>
                <c:pt idx="307">
                  <c:v>41236</c:v>
                </c:pt>
                <c:pt idx="308">
                  <c:v>41243</c:v>
                </c:pt>
                <c:pt idx="309">
                  <c:v>41250</c:v>
                </c:pt>
                <c:pt idx="310">
                  <c:v>41257</c:v>
                </c:pt>
                <c:pt idx="311">
                  <c:v>41264</c:v>
                </c:pt>
                <c:pt idx="312">
                  <c:v>41271</c:v>
                </c:pt>
                <c:pt idx="313">
                  <c:v>41278</c:v>
                </c:pt>
                <c:pt idx="314">
                  <c:v>41285</c:v>
                </c:pt>
                <c:pt idx="315">
                  <c:v>41292</c:v>
                </c:pt>
                <c:pt idx="316">
                  <c:v>41299</c:v>
                </c:pt>
                <c:pt idx="317">
                  <c:v>41306</c:v>
                </c:pt>
                <c:pt idx="318">
                  <c:v>41313</c:v>
                </c:pt>
                <c:pt idx="319">
                  <c:v>41320</c:v>
                </c:pt>
                <c:pt idx="320">
                  <c:v>41327</c:v>
                </c:pt>
                <c:pt idx="321">
                  <c:v>41334</c:v>
                </c:pt>
                <c:pt idx="322">
                  <c:v>41341</c:v>
                </c:pt>
                <c:pt idx="323">
                  <c:v>41348</c:v>
                </c:pt>
                <c:pt idx="324">
                  <c:v>41355</c:v>
                </c:pt>
                <c:pt idx="325">
                  <c:v>41362</c:v>
                </c:pt>
                <c:pt idx="326">
                  <c:v>41369</c:v>
                </c:pt>
                <c:pt idx="327">
                  <c:v>41376</c:v>
                </c:pt>
                <c:pt idx="328">
                  <c:v>41383</c:v>
                </c:pt>
                <c:pt idx="329">
                  <c:v>41390</c:v>
                </c:pt>
                <c:pt idx="330">
                  <c:v>41397</c:v>
                </c:pt>
                <c:pt idx="331">
                  <c:v>41404</c:v>
                </c:pt>
                <c:pt idx="332">
                  <c:v>41411</c:v>
                </c:pt>
                <c:pt idx="333">
                  <c:v>41418</c:v>
                </c:pt>
                <c:pt idx="334">
                  <c:v>41425</c:v>
                </c:pt>
                <c:pt idx="335">
                  <c:v>41432</c:v>
                </c:pt>
                <c:pt idx="336">
                  <c:v>41439</c:v>
                </c:pt>
                <c:pt idx="337">
                  <c:v>41446</c:v>
                </c:pt>
                <c:pt idx="338">
                  <c:v>41453</c:v>
                </c:pt>
                <c:pt idx="339">
                  <c:v>41460</c:v>
                </c:pt>
                <c:pt idx="340">
                  <c:v>41467</c:v>
                </c:pt>
                <c:pt idx="341">
                  <c:v>41474</c:v>
                </c:pt>
                <c:pt idx="342">
                  <c:v>41481</c:v>
                </c:pt>
                <c:pt idx="343">
                  <c:v>41488</c:v>
                </c:pt>
                <c:pt idx="344">
                  <c:v>41495</c:v>
                </c:pt>
                <c:pt idx="345">
                  <c:v>41502</c:v>
                </c:pt>
                <c:pt idx="346">
                  <c:v>41509</c:v>
                </c:pt>
                <c:pt idx="347">
                  <c:v>41516</c:v>
                </c:pt>
                <c:pt idx="348">
                  <c:v>41523</c:v>
                </c:pt>
                <c:pt idx="349">
                  <c:v>41530</c:v>
                </c:pt>
                <c:pt idx="350">
                  <c:v>41537</c:v>
                </c:pt>
                <c:pt idx="351">
                  <c:v>41544</c:v>
                </c:pt>
                <c:pt idx="352">
                  <c:v>41551</c:v>
                </c:pt>
                <c:pt idx="353">
                  <c:v>41558</c:v>
                </c:pt>
                <c:pt idx="354">
                  <c:v>41565</c:v>
                </c:pt>
                <c:pt idx="355">
                  <c:v>41572</c:v>
                </c:pt>
                <c:pt idx="356">
                  <c:v>41579</c:v>
                </c:pt>
                <c:pt idx="357">
                  <c:v>41586</c:v>
                </c:pt>
                <c:pt idx="358">
                  <c:v>41593</c:v>
                </c:pt>
                <c:pt idx="359">
                  <c:v>41600</c:v>
                </c:pt>
                <c:pt idx="360">
                  <c:v>41607</c:v>
                </c:pt>
                <c:pt idx="361">
                  <c:v>41614</c:v>
                </c:pt>
                <c:pt idx="362">
                  <c:v>41621</c:v>
                </c:pt>
                <c:pt idx="363">
                  <c:v>41628</c:v>
                </c:pt>
                <c:pt idx="364">
                  <c:v>41635</c:v>
                </c:pt>
                <c:pt idx="365">
                  <c:v>41642</c:v>
                </c:pt>
                <c:pt idx="366">
                  <c:v>41649</c:v>
                </c:pt>
                <c:pt idx="367">
                  <c:v>41656</c:v>
                </c:pt>
                <c:pt idx="368">
                  <c:v>41663</c:v>
                </c:pt>
                <c:pt idx="369">
                  <c:v>41670</c:v>
                </c:pt>
                <c:pt idx="370">
                  <c:v>41677</c:v>
                </c:pt>
                <c:pt idx="371">
                  <c:v>41684</c:v>
                </c:pt>
                <c:pt idx="372">
                  <c:v>41691</c:v>
                </c:pt>
                <c:pt idx="373">
                  <c:v>41698</c:v>
                </c:pt>
                <c:pt idx="374">
                  <c:v>41705</c:v>
                </c:pt>
                <c:pt idx="375">
                  <c:v>41712</c:v>
                </c:pt>
                <c:pt idx="376">
                  <c:v>41719</c:v>
                </c:pt>
                <c:pt idx="377">
                  <c:v>41726</c:v>
                </c:pt>
                <c:pt idx="378">
                  <c:v>41733</c:v>
                </c:pt>
                <c:pt idx="379">
                  <c:v>41740</c:v>
                </c:pt>
                <c:pt idx="380">
                  <c:v>41747</c:v>
                </c:pt>
                <c:pt idx="381">
                  <c:v>41754</c:v>
                </c:pt>
                <c:pt idx="382">
                  <c:v>41761</c:v>
                </c:pt>
                <c:pt idx="383">
                  <c:v>41768</c:v>
                </c:pt>
                <c:pt idx="384">
                  <c:v>41775</c:v>
                </c:pt>
                <c:pt idx="385">
                  <c:v>41782</c:v>
                </c:pt>
                <c:pt idx="386">
                  <c:v>41789</c:v>
                </c:pt>
                <c:pt idx="387">
                  <c:v>41796</c:v>
                </c:pt>
                <c:pt idx="388">
                  <c:v>41803</c:v>
                </c:pt>
                <c:pt idx="389">
                  <c:v>41810</c:v>
                </c:pt>
                <c:pt idx="390">
                  <c:v>41817</c:v>
                </c:pt>
                <c:pt idx="391">
                  <c:v>41824</c:v>
                </c:pt>
                <c:pt idx="392">
                  <c:v>41831</c:v>
                </c:pt>
                <c:pt idx="393">
                  <c:v>41838</c:v>
                </c:pt>
                <c:pt idx="394">
                  <c:v>41845</c:v>
                </c:pt>
                <c:pt idx="395">
                  <c:v>41852</c:v>
                </c:pt>
                <c:pt idx="396">
                  <c:v>41859</c:v>
                </c:pt>
                <c:pt idx="397">
                  <c:v>41866</c:v>
                </c:pt>
                <c:pt idx="398">
                  <c:v>41873</c:v>
                </c:pt>
                <c:pt idx="399">
                  <c:v>41880</c:v>
                </c:pt>
                <c:pt idx="400">
                  <c:v>41887</c:v>
                </c:pt>
                <c:pt idx="401">
                  <c:v>41894</c:v>
                </c:pt>
                <c:pt idx="402">
                  <c:v>41901</c:v>
                </c:pt>
                <c:pt idx="403">
                  <c:v>41908</c:v>
                </c:pt>
                <c:pt idx="404">
                  <c:v>41915</c:v>
                </c:pt>
                <c:pt idx="405">
                  <c:v>41922</c:v>
                </c:pt>
                <c:pt idx="406">
                  <c:v>41929</c:v>
                </c:pt>
                <c:pt idx="407">
                  <c:v>41936</c:v>
                </c:pt>
                <c:pt idx="408">
                  <c:v>41943</c:v>
                </c:pt>
                <c:pt idx="409">
                  <c:v>41950</c:v>
                </c:pt>
                <c:pt idx="410">
                  <c:v>41957</c:v>
                </c:pt>
                <c:pt idx="411">
                  <c:v>41964</c:v>
                </c:pt>
                <c:pt idx="412">
                  <c:v>41971</c:v>
                </c:pt>
                <c:pt idx="413">
                  <c:v>41978</c:v>
                </c:pt>
                <c:pt idx="414">
                  <c:v>41985</c:v>
                </c:pt>
                <c:pt idx="415">
                  <c:v>41992</c:v>
                </c:pt>
                <c:pt idx="416">
                  <c:v>41999</c:v>
                </c:pt>
                <c:pt idx="417">
                  <c:v>42006</c:v>
                </c:pt>
                <c:pt idx="418">
                  <c:v>42013</c:v>
                </c:pt>
                <c:pt idx="419">
                  <c:v>42020</c:v>
                </c:pt>
                <c:pt idx="420">
                  <c:v>42027</c:v>
                </c:pt>
                <c:pt idx="421">
                  <c:v>42034</c:v>
                </c:pt>
                <c:pt idx="422">
                  <c:v>42041</c:v>
                </c:pt>
                <c:pt idx="423">
                  <c:v>42048</c:v>
                </c:pt>
                <c:pt idx="424">
                  <c:v>42055</c:v>
                </c:pt>
                <c:pt idx="425">
                  <c:v>42062</c:v>
                </c:pt>
                <c:pt idx="426">
                  <c:v>42069</c:v>
                </c:pt>
                <c:pt idx="427">
                  <c:v>42076</c:v>
                </c:pt>
                <c:pt idx="428">
                  <c:v>42083</c:v>
                </c:pt>
                <c:pt idx="429">
                  <c:v>42090</c:v>
                </c:pt>
                <c:pt idx="430">
                  <c:v>42097</c:v>
                </c:pt>
                <c:pt idx="431">
                  <c:v>42104</c:v>
                </c:pt>
                <c:pt idx="432">
                  <c:v>42111</c:v>
                </c:pt>
                <c:pt idx="433">
                  <c:v>42118</c:v>
                </c:pt>
                <c:pt idx="434">
                  <c:v>42125</c:v>
                </c:pt>
                <c:pt idx="435">
                  <c:v>42132</c:v>
                </c:pt>
                <c:pt idx="436">
                  <c:v>42139</c:v>
                </c:pt>
                <c:pt idx="437">
                  <c:v>42146</c:v>
                </c:pt>
                <c:pt idx="438">
                  <c:v>42153</c:v>
                </c:pt>
                <c:pt idx="439">
                  <c:v>42160</c:v>
                </c:pt>
                <c:pt idx="440">
                  <c:v>42167</c:v>
                </c:pt>
                <c:pt idx="441">
                  <c:v>42174</c:v>
                </c:pt>
                <c:pt idx="442">
                  <c:v>42181</c:v>
                </c:pt>
                <c:pt idx="443">
                  <c:v>42223</c:v>
                </c:pt>
                <c:pt idx="444">
                  <c:v>42230</c:v>
                </c:pt>
                <c:pt idx="445">
                  <c:v>42237</c:v>
                </c:pt>
                <c:pt idx="446">
                  <c:v>42244</c:v>
                </c:pt>
                <c:pt idx="447">
                  <c:v>42251</c:v>
                </c:pt>
                <c:pt idx="448">
                  <c:v>42258</c:v>
                </c:pt>
                <c:pt idx="449">
                  <c:v>42265</c:v>
                </c:pt>
                <c:pt idx="450">
                  <c:v>42272</c:v>
                </c:pt>
                <c:pt idx="451">
                  <c:v>42279</c:v>
                </c:pt>
                <c:pt idx="452">
                  <c:v>42286</c:v>
                </c:pt>
                <c:pt idx="453">
                  <c:v>42293</c:v>
                </c:pt>
                <c:pt idx="454">
                  <c:v>42300</c:v>
                </c:pt>
                <c:pt idx="455">
                  <c:v>42307</c:v>
                </c:pt>
                <c:pt idx="456">
                  <c:v>42314</c:v>
                </c:pt>
                <c:pt idx="457">
                  <c:v>42321</c:v>
                </c:pt>
                <c:pt idx="458">
                  <c:v>42328</c:v>
                </c:pt>
                <c:pt idx="459">
                  <c:v>42335</c:v>
                </c:pt>
                <c:pt idx="460">
                  <c:v>42342</c:v>
                </c:pt>
                <c:pt idx="461">
                  <c:v>42349</c:v>
                </c:pt>
                <c:pt idx="462">
                  <c:v>42356</c:v>
                </c:pt>
                <c:pt idx="463">
                  <c:v>42363</c:v>
                </c:pt>
                <c:pt idx="464">
                  <c:v>42370</c:v>
                </c:pt>
                <c:pt idx="465">
                  <c:v>42377</c:v>
                </c:pt>
                <c:pt idx="466">
                  <c:v>42384</c:v>
                </c:pt>
                <c:pt idx="467">
                  <c:v>42391</c:v>
                </c:pt>
                <c:pt idx="468">
                  <c:v>42398</c:v>
                </c:pt>
                <c:pt idx="469">
                  <c:v>42405</c:v>
                </c:pt>
                <c:pt idx="470">
                  <c:v>42412</c:v>
                </c:pt>
                <c:pt idx="471">
                  <c:v>42419</c:v>
                </c:pt>
                <c:pt idx="472">
                  <c:v>42426</c:v>
                </c:pt>
                <c:pt idx="473">
                  <c:v>42433</c:v>
                </c:pt>
                <c:pt idx="474">
                  <c:v>42440</c:v>
                </c:pt>
                <c:pt idx="475">
                  <c:v>42447</c:v>
                </c:pt>
                <c:pt idx="476">
                  <c:v>42454</c:v>
                </c:pt>
                <c:pt idx="477">
                  <c:v>42461</c:v>
                </c:pt>
                <c:pt idx="478">
                  <c:v>42468</c:v>
                </c:pt>
                <c:pt idx="479">
                  <c:v>42475</c:v>
                </c:pt>
                <c:pt idx="480">
                  <c:v>42482</c:v>
                </c:pt>
                <c:pt idx="481">
                  <c:v>42489</c:v>
                </c:pt>
                <c:pt idx="482">
                  <c:v>42496</c:v>
                </c:pt>
                <c:pt idx="483">
                  <c:v>42503</c:v>
                </c:pt>
                <c:pt idx="484">
                  <c:v>42510</c:v>
                </c:pt>
                <c:pt idx="485">
                  <c:v>42517</c:v>
                </c:pt>
                <c:pt idx="486">
                  <c:v>42524</c:v>
                </c:pt>
                <c:pt idx="487">
                  <c:v>42531</c:v>
                </c:pt>
                <c:pt idx="488">
                  <c:v>42538</c:v>
                </c:pt>
                <c:pt idx="489">
                  <c:v>42545</c:v>
                </c:pt>
                <c:pt idx="490">
                  <c:v>42552</c:v>
                </c:pt>
                <c:pt idx="491">
                  <c:v>42559</c:v>
                </c:pt>
                <c:pt idx="492">
                  <c:v>42566</c:v>
                </c:pt>
                <c:pt idx="493">
                  <c:v>42573</c:v>
                </c:pt>
                <c:pt idx="494">
                  <c:v>42580</c:v>
                </c:pt>
                <c:pt idx="495">
                  <c:v>42587</c:v>
                </c:pt>
                <c:pt idx="496">
                  <c:v>42594</c:v>
                </c:pt>
                <c:pt idx="497">
                  <c:v>42601</c:v>
                </c:pt>
                <c:pt idx="498">
                  <c:v>42608</c:v>
                </c:pt>
                <c:pt idx="499">
                  <c:v>42615</c:v>
                </c:pt>
                <c:pt idx="500">
                  <c:v>42622</c:v>
                </c:pt>
                <c:pt idx="501">
                  <c:v>42629</c:v>
                </c:pt>
                <c:pt idx="502">
                  <c:v>42636</c:v>
                </c:pt>
                <c:pt idx="503">
                  <c:v>42643</c:v>
                </c:pt>
                <c:pt idx="504">
                  <c:v>42650</c:v>
                </c:pt>
                <c:pt idx="505">
                  <c:v>42657</c:v>
                </c:pt>
                <c:pt idx="506">
                  <c:v>42664</c:v>
                </c:pt>
                <c:pt idx="507">
                  <c:v>42671</c:v>
                </c:pt>
                <c:pt idx="508">
                  <c:v>42678</c:v>
                </c:pt>
                <c:pt idx="509">
                  <c:v>42685</c:v>
                </c:pt>
                <c:pt idx="510">
                  <c:v>42692</c:v>
                </c:pt>
                <c:pt idx="511">
                  <c:v>42699</c:v>
                </c:pt>
                <c:pt idx="512">
                  <c:v>42706</c:v>
                </c:pt>
                <c:pt idx="513">
                  <c:v>42713</c:v>
                </c:pt>
                <c:pt idx="514">
                  <c:v>42720</c:v>
                </c:pt>
                <c:pt idx="515">
                  <c:v>42727</c:v>
                </c:pt>
                <c:pt idx="516">
                  <c:v>42734</c:v>
                </c:pt>
              </c:numCache>
            </c:numRef>
          </c:cat>
          <c:val>
            <c:numRef>
              <c:f>[DATA.xlsx]Sheet1!$AD$4:$AD$520</c:f>
              <c:numCache>
                <c:formatCode>General</c:formatCode>
                <c:ptCount val="517"/>
                <c:pt idx="0">
                  <c:v>100</c:v>
                </c:pt>
                <c:pt idx="1">
                  <c:v>102.35960358659746</c:v>
                </c:pt>
                <c:pt idx="2">
                  <c:v>101.48655025955642</c:v>
                </c:pt>
                <c:pt idx="3">
                  <c:v>102.68994808872111</c:v>
                </c:pt>
                <c:pt idx="4">
                  <c:v>101.91127890514396</c:v>
                </c:pt>
                <c:pt idx="5">
                  <c:v>102.35960358659746</c:v>
                </c:pt>
                <c:pt idx="6">
                  <c:v>101.48655025955642</c:v>
                </c:pt>
                <c:pt idx="7">
                  <c:v>101.15620575743276</c:v>
                </c:pt>
                <c:pt idx="8">
                  <c:v>98.725814063237394</c:v>
                </c:pt>
                <c:pt idx="9">
                  <c:v>98.985370457763111</c:v>
                </c:pt>
                <c:pt idx="10">
                  <c:v>98.183105238319968</c:v>
                </c:pt>
                <c:pt idx="11">
                  <c:v>100.51911278905143</c:v>
                </c:pt>
                <c:pt idx="12">
                  <c:v>101.60453043888629</c:v>
                </c:pt>
                <c:pt idx="13">
                  <c:v>101.98206701274187</c:v>
                </c:pt>
                <c:pt idx="14">
                  <c:v>105.47428032090609</c:v>
                </c:pt>
                <c:pt idx="15">
                  <c:v>104.95516753185467</c:v>
                </c:pt>
                <c:pt idx="16">
                  <c:v>105.23831996224635</c:v>
                </c:pt>
                <c:pt idx="17">
                  <c:v>104.48324681453516</c:v>
                </c:pt>
                <c:pt idx="18">
                  <c:v>104.78999528079282</c:v>
                </c:pt>
                <c:pt idx="19">
                  <c:v>107.12600283152432</c:v>
                </c:pt>
                <c:pt idx="20">
                  <c:v>108.51816894761681</c:v>
                </c:pt>
                <c:pt idx="21">
                  <c:v>110.09910335063711</c:v>
                </c:pt>
                <c:pt idx="22">
                  <c:v>112.60028315243041</c:v>
                </c:pt>
                <c:pt idx="23">
                  <c:v>115.21944313355357</c:v>
                </c:pt>
                <c:pt idx="24">
                  <c:v>115.07786691835773</c:v>
                </c:pt>
                <c:pt idx="25">
                  <c:v>113.56772062293534</c:v>
                </c:pt>
                <c:pt idx="26">
                  <c:v>115.97451628126475</c:v>
                </c:pt>
                <c:pt idx="27">
                  <c:v>115.17225106182163</c:v>
                </c:pt>
                <c:pt idx="28">
                  <c:v>111.18452100047193</c:v>
                </c:pt>
                <c:pt idx="29">
                  <c:v>109.83954695611141</c:v>
                </c:pt>
                <c:pt idx="30">
                  <c:v>109.15526191599814</c:v>
                </c:pt>
                <c:pt idx="31">
                  <c:v>109.72156677678153</c:v>
                </c:pt>
                <c:pt idx="32">
                  <c:v>108.49457291175084</c:v>
                </c:pt>
                <c:pt idx="33">
                  <c:v>107.99905615856538</c:v>
                </c:pt>
                <c:pt idx="34">
                  <c:v>107.78669183577159</c:v>
                </c:pt>
                <c:pt idx="35">
                  <c:v>105.54506842850402</c:v>
                </c:pt>
                <c:pt idx="36">
                  <c:v>106.30014157621521</c:v>
                </c:pt>
                <c:pt idx="37">
                  <c:v>109.57999056158567</c:v>
                </c:pt>
                <c:pt idx="38">
                  <c:v>109.20245398773008</c:v>
                </c:pt>
                <c:pt idx="39">
                  <c:v>109.01368570080227</c:v>
                </c:pt>
                <c:pt idx="40">
                  <c:v>110.42944785276075</c:v>
                </c:pt>
                <c:pt idx="41">
                  <c:v>106.51250589900899</c:v>
                </c:pt>
                <c:pt idx="42">
                  <c:v>105.59226050023595</c:v>
                </c:pt>
                <c:pt idx="43">
                  <c:v>105.87541293062768</c:v>
                </c:pt>
                <c:pt idx="44">
                  <c:v>103.96413402548373</c:v>
                </c:pt>
                <c:pt idx="45">
                  <c:v>104.38886267107128</c:v>
                </c:pt>
                <c:pt idx="46">
                  <c:v>103.51580934403022</c:v>
                </c:pt>
                <c:pt idx="47">
                  <c:v>105.30910806984429</c:v>
                </c:pt>
                <c:pt idx="48">
                  <c:v>106.30014157621521</c:v>
                </c:pt>
                <c:pt idx="49">
                  <c:v>109.01368570080227</c:v>
                </c:pt>
                <c:pt idx="50">
                  <c:v>109.15526191599814</c:v>
                </c:pt>
                <c:pt idx="51">
                  <c:v>109.36762623879189</c:v>
                </c:pt>
                <c:pt idx="52">
                  <c:v>105.0967437470505</c:v>
                </c:pt>
                <c:pt idx="53">
                  <c:v>105.07314771118455</c:v>
                </c:pt>
                <c:pt idx="54">
                  <c:v>101.88768286927797</c:v>
                </c:pt>
                <c:pt idx="55">
                  <c:v>102.97310051911279</c:v>
                </c:pt>
                <c:pt idx="56">
                  <c:v>100.96743747050496</c:v>
                </c:pt>
                <c:pt idx="57">
                  <c:v>99.622463426144421</c:v>
                </c:pt>
                <c:pt idx="58">
                  <c:v>102.57196790939122</c:v>
                </c:pt>
                <c:pt idx="59">
                  <c:v>104.31807456347335</c:v>
                </c:pt>
                <c:pt idx="60">
                  <c:v>102.28881547899952</c:v>
                </c:pt>
                <c:pt idx="61">
                  <c:v>105.16753185464842</c:v>
                </c:pt>
                <c:pt idx="62">
                  <c:v>104.10571024067958</c:v>
                </c:pt>
                <c:pt idx="63">
                  <c:v>102.83152430391695</c:v>
                </c:pt>
                <c:pt idx="64">
                  <c:v>106.27654554034922</c:v>
                </c:pt>
                <c:pt idx="65">
                  <c:v>104.71920717319492</c:v>
                </c:pt>
                <c:pt idx="66">
                  <c:v>104.64841906559698</c:v>
                </c:pt>
                <c:pt idx="67">
                  <c:v>109.57999056158567</c:v>
                </c:pt>
                <c:pt idx="68">
                  <c:v>110.24067956583295</c:v>
                </c:pt>
                <c:pt idx="69">
                  <c:v>109.69797074091554</c:v>
                </c:pt>
                <c:pt idx="70">
                  <c:v>108.28220858895708</c:v>
                </c:pt>
                <c:pt idx="71">
                  <c:v>111.51486550259557</c:v>
                </c:pt>
                <c:pt idx="72">
                  <c:v>114.0868334119868</c:v>
                </c:pt>
                <c:pt idx="73">
                  <c:v>117.24870221802739</c:v>
                </c:pt>
                <c:pt idx="74">
                  <c:v>118.21613968853232</c:v>
                </c:pt>
                <c:pt idx="75">
                  <c:v>125.29495044832468</c:v>
                </c:pt>
                <c:pt idx="76">
                  <c:v>124.49268522888156</c:v>
                </c:pt>
                <c:pt idx="77">
                  <c:v>122.84096271826334</c:v>
                </c:pt>
                <c:pt idx="78">
                  <c:v>121.61396885323268</c:v>
                </c:pt>
                <c:pt idx="79">
                  <c:v>119.51392166116095</c:v>
                </c:pt>
                <c:pt idx="80">
                  <c:v>123.17130722038698</c:v>
                </c:pt>
                <c:pt idx="81">
                  <c:v>123.21849929211895</c:v>
                </c:pt>
                <c:pt idx="82">
                  <c:v>117.93298725814066</c:v>
                </c:pt>
                <c:pt idx="83">
                  <c:v>115.07786691835773</c:v>
                </c:pt>
                <c:pt idx="84">
                  <c:v>114.01604530438887</c:v>
                </c:pt>
                <c:pt idx="85">
                  <c:v>115.4789995280793</c:v>
                </c:pt>
                <c:pt idx="86">
                  <c:v>115.1958470976876</c:v>
                </c:pt>
                <c:pt idx="87">
                  <c:v>111.98678621991507</c:v>
                </c:pt>
                <c:pt idx="88">
                  <c:v>115.78574799433696</c:v>
                </c:pt>
                <c:pt idx="89">
                  <c:v>118.1453515809344</c:v>
                </c:pt>
                <c:pt idx="90">
                  <c:v>116.28126474752243</c:v>
                </c:pt>
                <c:pt idx="91">
                  <c:v>113.04860783388393</c:v>
                </c:pt>
                <c:pt idx="92">
                  <c:v>117.69702689948089</c:v>
                </c:pt>
                <c:pt idx="93">
                  <c:v>115.52619159981123</c:v>
                </c:pt>
                <c:pt idx="94">
                  <c:v>115.76215195847097</c:v>
                </c:pt>
                <c:pt idx="95">
                  <c:v>130.06134969325157</c:v>
                </c:pt>
                <c:pt idx="96">
                  <c:v>119.91505427088249</c:v>
                </c:pt>
                <c:pt idx="97">
                  <c:v>119.34874941009912</c:v>
                </c:pt>
                <c:pt idx="98">
                  <c:v>115.4789995280793</c:v>
                </c:pt>
                <c:pt idx="99">
                  <c:v>114.1812175554507</c:v>
                </c:pt>
                <c:pt idx="100">
                  <c:v>111.2317130722039</c:v>
                </c:pt>
                <c:pt idx="101">
                  <c:v>126.52194431335538</c:v>
                </c:pt>
                <c:pt idx="102">
                  <c:v>124.13874469089194</c:v>
                </c:pt>
                <c:pt idx="103">
                  <c:v>122.98253893345918</c:v>
                </c:pt>
                <c:pt idx="104">
                  <c:v>122.41623407267579</c:v>
                </c:pt>
                <c:pt idx="105">
                  <c:v>124.42189712128362</c:v>
                </c:pt>
                <c:pt idx="106">
                  <c:v>128.57479943369515</c:v>
                </c:pt>
                <c:pt idx="107">
                  <c:v>146.41340254837189</c:v>
                </c:pt>
                <c:pt idx="108">
                  <c:v>137.21094856064181</c:v>
                </c:pt>
                <c:pt idx="109">
                  <c:v>134.63898065125059</c:v>
                </c:pt>
                <c:pt idx="110">
                  <c:v>138.10759792354887</c:v>
                </c:pt>
                <c:pt idx="111">
                  <c:v>130.22652194431336</c:v>
                </c:pt>
                <c:pt idx="112">
                  <c:v>133.97829164700332</c:v>
                </c:pt>
                <c:pt idx="113">
                  <c:v>135.22888154789996</c:v>
                </c:pt>
                <c:pt idx="114">
                  <c:v>142.47286455875414</c:v>
                </c:pt>
                <c:pt idx="115">
                  <c:v>132.91647003303447</c:v>
                </c:pt>
                <c:pt idx="116">
                  <c:v>133.41198678621993</c:v>
                </c:pt>
                <c:pt idx="117">
                  <c:v>134.68617272298255</c:v>
                </c:pt>
                <c:pt idx="118">
                  <c:v>131.00519112789053</c:v>
                </c:pt>
                <c:pt idx="119">
                  <c:v>129.4714487966022</c:v>
                </c:pt>
                <c:pt idx="120">
                  <c:v>125.34214252005664</c:v>
                </c:pt>
                <c:pt idx="121">
                  <c:v>125.43652666352054</c:v>
                </c:pt>
                <c:pt idx="122">
                  <c:v>119.67909391222275</c:v>
                </c:pt>
                <c:pt idx="123">
                  <c:v>121.75554506842852</c:v>
                </c:pt>
                <c:pt idx="124">
                  <c:v>123.38367154318075</c:v>
                </c:pt>
                <c:pt idx="125">
                  <c:v>128.50401132609724</c:v>
                </c:pt>
                <c:pt idx="126">
                  <c:v>131.76026427560171</c:v>
                </c:pt>
                <c:pt idx="127">
                  <c:v>126.3095799905616</c:v>
                </c:pt>
                <c:pt idx="128">
                  <c:v>123.92638036809818</c:v>
                </c:pt>
                <c:pt idx="129">
                  <c:v>121.47239263803682</c:v>
                </c:pt>
                <c:pt idx="130">
                  <c:v>116.42284096271828</c:v>
                </c:pt>
                <c:pt idx="131">
                  <c:v>118.02737140160453</c:v>
                </c:pt>
                <c:pt idx="132">
                  <c:v>116.7767815007079</c:v>
                </c:pt>
                <c:pt idx="133">
                  <c:v>114.7239263803681</c:v>
                </c:pt>
                <c:pt idx="134">
                  <c:v>106.65408211420481</c:v>
                </c:pt>
                <c:pt idx="135">
                  <c:v>108.82491741387447</c:v>
                </c:pt>
                <c:pt idx="136">
                  <c:v>106.74846625766872</c:v>
                </c:pt>
                <c:pt idx="137">
                  <c:v>106.65408211420481</c:v>
                </c:pt>
                <c:pt idx="138">
                  <c:v>104.55403492213308</c:v>
                </c:pt>
                <c:pt idx="139">
                  <c:v>110.07550731477113</c:v>
                </c:pt>
                <c:pt idx="140">
                  <c:v>107.07881075979238</c:v>
                </c:pt>
                <c:pt idx="141">
                  <c:v>106.89004247286458</c:v>
                </c:pt>
                <c:pt idx="142">
                  <c:v>105.40349221330816</c:v>
                </c:pt>
                <c:pt idx="143">
                  <c:v>105.40349221330816</c:v>
                </c:pt>
                <c:pt idx="144">
                  <c:v>105.35630014157621</c:v>
                </c:pt>
                <c:pt idx="145">
                  <c:v>109.83954695611141</c:v>
                </c:pt>
                <c:pt idx="146">
                  <c:v>110.66540821142048</c:v>
                </c:pt>
                <c:pt idx="147">
                  <c:v>109.81595092024541</c:v>
                </c:pt>
                <c:pt idx="148">
                  <c:v>111.98678621991507</c:v>
                </c:pt>
                <c:pt idx="149">
                  <c:v>112.81264747522417</c:v>
                </c:pt>
                <c:pt idx="150">
                  <c:v>117.43747050495519</c:v>
                </c:pt>
                <c:pt idx="151">
                  <c:v>120.57574327512981</c:v>
                </c:pt>
                <c:pt idx="152">
                  <c:v>118.05096743747052</c:v>
                </c:pt>
                <c:pt idx="153">
                  <c:v>124.89381783860314</c:v>
                </c:pt>
                <c:pt idx="154">
                  <c:v>136.76262387918831</c:v>
                </c:pt>
                <c:pt idx="155">
                  <c:v>135.41764983482776</c:v>
                </c:pt>
                <c:pt idx="156">
                  <c:v>136.24351109013688</c:v>
                </c:pt>
                <c:pt idx="157">
                  <c:v>131.78386031146769</c:v>
                </c:pt>
                <c:pt idx="158">
                  <c:v>141.48183105238323</c:v>
                </c:pt>
                <c:pt idx="159">
                  <c:v>147.7819726285984</c:v>
                </c:pt>
                <c:pt idx="160">
                  <c:v>161.72722982538937</c:v>
                </c:pt>
                <c:pt idx="161">
                  <c:v>156.32373761208117</c:v>
                </c:pt>
                <c:pt idx="162">
                  <c:v>145.1864086833412</c:v>
                </c:pt>
                <c:pt idx="163">
                  <c:v>152.43039169419538</c:v>
                </c:pt>
                <c:pt idx="164">
                  <c:v>150.11798017932989</c:v>
                </c:pt>
                <c:pt idx="165">
                  <c:v>143.15714959886742</c:v>
                </c:pt>
                <c:pt idx="166">
                  <c:v>146.90891930155738</c:v>
                </c:pt>
                <c:pt idx="167">
                  <c:v>149.78763567720623</c:v>
                </c:pt>
                <c:pt idx="168">
                  <c:v>146.34261444077396</c:v>
                </c:pt>
                <c:pt idx="169">
                  <c:v>154.43605474280321</c:v>
                </c:pt>
                <c:pt idx="170">
                  <c:v>168.7352524775838</c:v>
                </c:pt>
                <c:pt idx="171">
                  <c:v>174.30391694195379</c:v>
                </c:pt>
                <c:pt idx="172">
                  <c:v>204.24728645587544</c:v>
                </c:pt>
                <c:pt idx="173">
                  <c:v>211.46767343086364</c:v>
                </c:pt>
                <c:pt idx="174">
                  <c:v>293.74705049551676</c:v>
                </c:pt>
                <c:pt idx="175">
                  <c:v>182.01982067012744</c:v>
                </c:pt>
                <c:pt idx="176">
                  <c:v>184.61538461538461</c:v>
                </c:pt>
                <c:pt idx="177">
                  <c:v>180.91080698442664</c:v>
                </c:pt>
                <c:pt idx="178">
                  <c:v>192.09532798489857</c:v>
                </c:pt>
                <c:pt idx="179">
                  <c:v>193.06276545540354</c:v>
                </c:pt>
                <c:pt idx="180">
                  <c:v>222.29825389334593</c:v>
                </c:pt>
                <c:pt idx="181">
                  <c:v>245.82350165172249</c:v>
                </c:pt>
                <c:pt idx="182">
                  <c:v>240.93912222746582</c:v>
                </c:pt>
                <c:pt idx="183">
                  <c:v>242.35488437942431</c:v>
                </c:pt>
                <c:pt idx="184">
                  <c:v>241.83577159037287</c:v>
                </c:pt>
                <c:pt idx="185">
                  <c:v>244.92685228881555</c:v>
                </c:pt>
                <c:pt idx="186">
                  <c:v>242.96838131193965</c:v>
                </c:pt>
                <c:pt idx="187">
                  <c:v>239.42897593204347</c:v>
                </c:pt>
                <c:pt idx="188">
                  <c:v>247.3572439830109</c:v>
                </c:pt>
                <c:pt idx="189">
                  <c:v>253.70457763095806</c:v>
                </c:pt>
                <c:pt idx="190">
                  <c:v>270.08022652194433</c:v>
                </c:pt>
                <c:pt idx="191">
                  <c:v>267.15431807456349</c:v>
                </c:pt>
                <c:pt idx="192">
                  <c:v>276.82869277961305</c:v>
                </c:pt>
                <c:pt idx="193">
                  <c:v>272.77017461066544</c:v>
                </c:pt>
                <c:pt idx="194">
                  <c:v>260.66540821142053</c:v>
                </c:pt>
                <c:pt idx="195">
                  <c:v>239.40537989617749</c:v>
                </c:pt>
                <c:pt idx="196">
                  <c:v>230.55686644643703</c:v>
                </c:pt>
                <c:pt idx="197">
                  <c:v>209.86314299197738</c:v>
                </c:pt>
                <c:pt idx="198">
                  <c:v>220.78810759792358</c:v>
                </c:pt>
                <c:pt idx="199">
                  <c:v>249.19773478055691</c:v>
                </c:pt>
                <c:pt idx="200">
                  <c:v>270.36337895233606</c:v>
                </c:pt>
                <c:pt idx="201">
                  <c:v>268.73525247758374</c:v>
                </c:pt>
                <c:pt idx="202">
                  <c:v>272.86455875412929</c:v>
                </c:pt>
                <c:pt idx="203">
                  <c:v>277.79613025011798</c:v>
                </c:pt>
                <c:pt idx="204">
                  <c:v>272.84096271826337</c:v>
                </c:pt>
                <c:pt idx="205">
                  <c:v>275.67248702218029</c:v>
                </c:pt>
                <c:pt idx="206">
                  <c:v>280.86361491269474</c:v>
                </c:pt>
                <c:pt idx="207">
                  <c:v>287.54129306276548</c:v>
                </c:pt>
                <c:pt idx="208">
                  <c:v>294.2897593204342</c:v>
                </c:pt>
                <c:pt idx="209">
                  <c:v>297.42803209060884</c:v>
                </c:pt>
                <c:pt idx="210">
                  <c:v>265.54978763567721</c:v>
                </c:pt>
                <c:pt idx="211">
                  <c:v>266.70599339311002</c:v>
                </c:pt>
                <c:pt idx="212">
                  <c:v>270.41057102406802</c:v>
                </c:pt>
                <c:pt idx="213">
                  <c:v>258.2586125530911</c:v>
                </c:pt>
                <c:pt idx="214">
                  <c:v>271.73194903256257</c:v>
                </c:pt>
                <c:pt idx="215">
                  <c:v>276.56913638508735</c:v>
                </c:pt>
                <c:pt idx="216">
                  <c:v>280.3209060877773</c:v>
                </c:pt>
                <c:pt idx="217">
                  <c:v>289.02784332232187</c:v>
                </c:pt>
                <c:pt idx="218">
                  <c:v>302.35960358659753</c:v>
                </c:pt>
                <c:pt idx="219">
                  <c:v>289.9480887210949</c:v>
                </c:pt>
                <c:pt idx="220">
                  <c:v>296.74374705049559</c:v>
                </c:pt>
                <c:pt idx="221">
                  <c:v>300.77866918357722</c:v>
                </c:pt>
                <c:pt idx="222">
                  <c:v>303.42142520056632</c:v>
                </c:pt>
                <c:pt idx="223">
                  <c:v>326.23879188296371</c:v>
                </c:pt>
                <c:pt idx="224">
                  <c:v>351.65172251061824</c:v>
                </c:pt>
                <c:pt idx="225">
                  <c:v>369.56111373289298</c:v>
                </c:pt>
                <c:pt idx="226">
                  <c:v>365.8801321378009</c:v>
                </c:pt>
                <c:pt idx="227">
                  <c:v>364.34638980651255</c:v>
                </c:pt>
                <c:pt idx="228">
                  <c:v>391.03350637092967</c:v>
                </c:pt>
                <c:pt idx="229">
                  <c:v>387.39971684756961</c:v>
                </c:pt>
                <c:pt idx="230">
                  <c:v>376.05002359603589</c:v>
                </c:pt>
                <c:pt idx="231">
                  <c:v>394.64369985842387</c:v>
                </c:pt>
                <c:pt idx="232">
                  <c:v>399.69325153374234</c:v>
                </c:pt>
                <c:pt idx="233">
                  <c:v>395.94148183105244</c:v>
                </c:pt>
                <c:pt idx="234">
                  <c:v>385.44124587069376</c:v>
                </c:pt>
                <c:pt idx="235">
                  <c:v>397.85276073619639</c:v>
                </c:pt>
                <c:pt idx="236">
                  <c:v>414.77111845210004</c:v>
                </c:pt>
                <c:pt idx="237">
                  <c:v>346.53138272770178</c:v>
                </c:pt>
                <c:pt idx="238">
                  <c:v>349.92921189240212</c:v>
                </c:pt>
                <c:pt idx="239">
                  <c:v>359.67437470504962</c:v>
                </c:pt>
                <c:pt idx="240">
                  <c:v>366.65880132137801</c:v>
                </c:pt>
                <c:pt idx="241">
                  <c:v>392.73242095327987</c:v>
                </c:pt>
                <c:pt idx="242">
                  <c:v>421.330816422841</c:v>
                </c:pt>
                <c:pt idx="243">
                  <c:v>431.38272770174615</c:v>
                </c:pt>
                <c:pt idx="244">
                  <c:v>485.01651722510621</c:v>
                </c:pt>
                <c:pt idx="245">
                  <c:v>500.02359603586603</c:v>
                </c:pt>
                <c:pt idx="246">
                  <c:v>557.59792354884382</c:v>
                </c:pt>
                <c:pt idx="247">
                  <c:v>535.29966965549795</c:v>
                </c:pt>
                <c:pt idx="248">
                  <c:v>555.26191599811239</c:v>
                </c:pt>
                <c:pt idx="249">
                  <c:v>564.62954223690417</c:v>
                </c:pt>
                <c:pt idx="250">
                  <c:v>567.15431807456355</c:v>
                </c:pt>
                <c:pt idx="251">
                  <c:v>548.27748938178388</c:v>
                </c:pt>
                <c:pt idx="252">
                  <c:v>631.61868806040593</c:v>
                </c:pt>
                <c:pt idx="253">
                  <c:v>671.23643227937714</c:v>
                </c:pt>
                <c:pt idx="254">
                  <c:v>665.2430391694196</c:v>
                </c:pt>
                <c:pt idx="255">
                  <c:v>704.83718735252478</c:v>
                </c:pt>
                <c:pt idx="256">
                  <c:v>721.68475696083067</c:v>
                </c:pt>
                <c:pt idx="257">
                  <c:v>827.18263331760261</c:v>
                </c:pt>
                <c:pt idx="258">
                  <c:v>816.91835771590388</c:v>
                </c:pt>
                <c:pt idx="259">
                  <c:v>824.77583765927329</c:v>
                </c:pt>
                <c:pt idx="260">
                  <c:v>824.98820198206704</c:v>
                </c:pt>
                <c:pt idx="261">
                  <c:v>824.16234072675786</c:v>
                </c:pt>
                <c:pt idx="262">
                  <c:v>810.85417649834835</c:v>
                </c:pt>
                <c:pt idx="263">
                  <c:v>805.9697970740915</c:v>
                </c:pt>
                <c:pt idx="264">
                  <c:v>801.6045304388864</c:v>
                </c:pt>
                <c:pt idx="265">
                  <c:v>806.72487022180292</c:v>
                </c:pt>
                <c:pt idx="266">
                  <c:v>776.47475224162338</c:v>
                </c:pt>
                <c:pt idx="267">
                  <c:v>811.25530910806992</c:v>
                </c:pt>
                <c:pt idx="268">
                  <c:v>807.85747994336953</c:v>
                </c:pt>
                <c:pt idx="269">
                  <c:v>875.43652666352068</c:v>
                </c:pt>
                <c:pt idx="270">
                  <c:v>862.45870693723464</c:v>
                </c:pt>
                <c:pt idx="271">
                  <c:v>428.97593204341672</c:v>
                </c:pt>
                <c:pt idx="272">
                  <c:v>474.3511090136858</c:v>
                </c:pt>
                <c:pt idx="273">
                  <c:v>497.49882019820672</c:v>
                </c:pt>
                <c:pt idx="274">
                  <c:v>514.41717791411043</c:v>
                </c:pt>
                <c:pt idx="275">
                  <c:v>498.5842378480416</c:v>
                </c:pt>
                <c:pt idx="276">
                  <c:v>503.58659745162811</c:v>
                </c:pt>
                <c:pt idx="277">
                  <c:v>484.96932515337437</c:v>
                </c:pt>
                <c:pt idx="278">
                  <c:v>485.37045776309589</c:v>
                </c:pt>
                <c:pt idx="279">
                  <c:v>584.04907975460128</c:v>
                </c:pt>
                <c:pt idx="280">
                  <c:v>687.65927324209542</c:v>
                </c:pt>
                <c:pt idx="281">
                  <c:v>712.97781972628616</c:v>
                </c:pt>
                <c:pt idx="282">
                  <c:v>720.64653138272774</c:v>
                </c:pt>
                <c:pt idx="283">
                  <c:v>682.65691363850885</c:v>
                </c:pt>
                <c:pt idx="284">
                  <c:v>640.06606890042485</c:v>
                </c:pt>
                <c:pt idx="285">
                  <c:v>641.93015573383673</c:v>
                </c:pt>
                <c:pt idx="286">
                  <c:v>609.46201038225581</c:v>
                </c:pt>
                <c:pt idx="287">
                  <c:v>605.68664464369999</c:v>
                </c:pt>
                <c:pt idx="288">
                  <c:v>587.56488909863151</c:v>
                </c:pt>
                <c:pt idx="289">
                  <c:v>603.68098159509213</c:v>
                </c:pt>
                <c:pt idx="290">
                  <c:v>630.72203869749887</c:v>
                </c:pt>
                <c:pt idx="291">
                  <c:v>597.19207173194911</c:v>
                </c:pt>
                <c:pt idx="292">
                  <c:v>574.68145351580938</c:v>
                </c:pt>
                <c:pt idx="293">
                  <c:v>575.2005663048609</c:v>
                </c:pt>
                <c:pt idx="294">
                  <c:v>565.69136385087313</c:v>
                </c:pt>
                <c:pt idx="295">
                  <c:v>552.31241151486552</c:v>
                </c:pt>
                <c:pt idx="296">
                  <c:v>510.05191127890521</c:v>
                </c:pt>
                <c:pt idx="297">
                  <c:v>490.46720151014637</c:v>
                </c:pt>
                <c:pt idx="298">
                  <c:v>470.22180273714025</c:v>
                </c:pt>
                <c:pt idx="299">
                  <c:v>459.98112317130727</c:v>
                </c:pt>
                <c:pt idx="300">
                  <c:v>435.70080226521952</c:v>
                </c:pt>
                <c:pt idx="301">
                  <c:v>425.81406323737616</c:v>
                </c:pt>
                <c:pt idx="302">
                  <c:v>388.06040585181699</c:v>
                </c:pt>
                <c:pt idx="303">
                  <c:v>408.02265219443143</c:v>
                </c:pt>
                <c:pt idx="304">
                  <c:v>429.30627654554041</c:v>
                </c:pt>
                <c:pt idx="305">
                  <c:v>424.44549315714966</c:v>
                </c:pt>
                <c:pt idx="306">
                  <c:v>412.29353468617279</c:v>
                </c:pt>
                <c:pt idx="307">
                  <c:v>388.76828692779617</c:v>
                </c:pt>
                <c:pt idx="308">
                  <c:v>380.62765455403496</c:v>
                </c:pt>
                <c:pt idx="309">
                  <c:v>341.19867862199158</c:v>
                </c:pt>
                <c:pt idx="310">
                  <c:v>307.26757904672019</c:v>
                </c:pt>
                <c:pt idx="311">
                  <c:v>280.60405851816898</c:v>
                </c:pt>
                <c:pt idx="312">
                  <c:v>280.79282680509675</c:v>
                </c:pt>
                <c:pt idx="313">
                  <c:v>265.45540349221335</c:v>
                </c:pt>
                <c:pt idx="314">
                  <c:v>277.13544124587071</c:v>
                </c:pt>
                <c:pt idx="315">
                  <c:v>260.217083529967</c:v>
                </c:pt>
                <c:pt idx="316">
                  <c:v>243.15714959886742</c:v>
                </c:pt>
                <c:pt idx="317">
                  <c:v>252.50117980179331</c:v>
                </c:pt>
                <c:pt idx="318">
                  <c:v>257.8810759792355</c:v>
                </c:pt>
                <c:pt idx="319">
                  <c:v>257.47994336951399</c:v>
                </c:pt>
                <c:pt idx="320">
                  <c:v>261.16092496460595</c:v>
                </c:pt>
                <c:pt idx="321">
                  <c:v>260.57102406795656</c:v>
                </c:pt>
                <c:pt idx="322">
                  <c:v>249.0325625294951</c:v>
                </c:pt>
                <c:pt idx="323">
                  <c:v>255.2147239263804</c:v>
                </c:pt>
                <c:pt idx="324">
                  <c:v>280.3680981595092</c:v>
                </c:pt>
                <c:pt idx="325">
                  <c:v>293.51109013685704</c:v>
                </c:pt>
                <c:pt idx="326">
                  <c:v>286.71543180745635</c:v>
                </c:pt>
                <c:pt idx="327">
                  <c:v>268.42850401132614</c:v>
                </c:pt>
                <c:pt idx="328">
                  <c:v>271.28362435110904</c:v>
                </c:pt>
                <c:pt idx="329">
                  <c:v>269.44313355356309</c:v>
                </c:pt>
                <c:pt idx="330">
                  <c:v>231.12317130722042</c:v>
                </c:pt>
                <c:pt idx="331">
                  <c:v>226.80509674374707</c:v>
                </c:pt>
                <c:pt idx="332">
                  <c:v>195.58754129306277</c:v>
                </c:pt>
                <c:pt idx="333">
                  <c:v>208.94289759320438</c:v>
                </c:pt>
                <c:pt idx="334">
                  <c:v>221.44879660217086</c:v>
                </c:pt>
                <c:pt idx="335">
                  <c:v>223.43086361491271</c:v>
                </c:pt>
                <c:pt idx="336">
                  <c:v>234.40302029259087</c:v>
                </c:pt>
                <c:pt idx="337">
                  <c:v>266.63520528551209</c:v>
                </c:pt>
                <c:pt idx="338">
                  <c:v>259.03728173666826</c:v>
                </c:pt>
                <c:pt idx="339">
                  <c:v>266.96554978763572</c:v>
                </c:pt>
                <c:pt idx="340">
                  <c:v>254.57763095799905</c:v>
                </c:pt>
                <c:pt idx="341">
                  <c:v>240.46720151014634</c:v>
                </c:pt>
                <c:pt idx="342">
                  <c:v>237.54129306276548</c:v>
                </c:pt>
                <c:pt idx="343">
                  <c:v>234.52100047192076</c:v>
                </c:pt>
                <c:pt idx="344">
                  <c:v>229.40066068900427</c:v>
                </c:pt>
                <c:pt idx="345">
                  <c:v>226.99386503067487</c:v>
                </c:pt>
                <c:pt idx="346">
                  <c:v>236.90420009438412</c:v>
                </c:pt>
                <c:pt idx="347">
                  <c:v>243.01557338367155</c:v>
                </c:pt>
                <c:pt idx="348">
                  <c:v>246.83813119395944</c:v>
                </c:pt>
                <c:pt idx="349">
                  <c:v>244.17177914110434</c:v>
                </c:pt>
                <c:pt idx="350">
                  <c:v>232.39735724398304</c:v>
                </c:pt>
                <c:pt idx="351">
                  <c:v>223.50165172251062</c:v>
                </c:pt>
                <c:pt idx="352">
                  <c:v>216.70599339310996</c:v>
                </c:pt>
                <c:pt idx="353">
                  <c:v>209.08447380840022</c:v>
                </c:pt>
                <c:pt idx="354">
                  <c:v>197.00330344502126</c:v>
                </c:pt>
                <c:pt idx="355">
                  <c:v>203.49221330816425</c:v>
                </c:pt>
                <c:pt idx="356">
                  <c:v>188.55592260500237</c:v>
                </c:pt>
                <c:pt idx="357">
                  <c:v>193.46389806512508</c:v>
                </c:pt>
                <c:pt idx="358">
                  <c:v>199.07975460122699</c:v>
                </c:pt>
                <c:pt idx="359">
                  <c:v>206.89004247286456</c:v>
                </c:pt>
                <c:pt idx="360">
                  <c:v>207.1495988673903</c:v>
                </c:pt>
                <c:pt idx="361">
                  <c:v>209.34403020292592</c:v>
                </c:pt>
                <c:pt idx="362">
                  <c:v>206.67767815007082</c:v>
                </c:pt>
                <c:pt idx="363">
                  <c:v>201.58093440302031</c:v>
                </c:pt>
                <c:pt idx="364">
                  <c:v>199.64605946201041</c:v>
                </c:pt>
                <c:pt idx="365">
                  <c:v>193.20434167059938</c:v>
                </c:pt>
                <c:pt idx="366">
                  <c:v>181.8782444549316</c:v>
                </c:pt>
                <c:pt idx="367">
                  <c:v>185.22888154789996</c:v>
                </c:pt>
                <c:pt idx="368">
                  <c:v>199.43369513921664</c:v>
                </c:pt>
                <c:pt idx="369">
                  <c:v>203.18546484190659</c:v>
                </c:pt>
                <c:pt idx="370">
                  <c:v>183.03445021236433</c:v>
                </c:pt>
                <c:pt idx="371">
                  <c:v>179.02312411514868</c:v>
                </c:pt>
                <c:pt idx="372">
                  <c:v>179.84898537045777</c:v>
                </c:pt>
                <c:pt idx="373">
                  <c:v>164.11042944785279</c:v>
                </c:pt>
                <c:pt idx="374">
                  <c:v>161.06654082114204</c:v>
                </c:pt>
                <c:pt idx="375">
                  <c:v>170.50495516753188</c:v>
                </c:pt>
                <c:pt idx="376">
                  <c:v>163.16658801321381</c:v>
                </c:pt>
                <c:pt idx="377">
                  <c:v>157.409155261916</c:v>
                </c:pt>
                <c:pt idx="378">
                  <c:v>144.9976403964134</c:v>
                </c:pt>
                <c:pt idx="379">
                  <c:v>148.04152902312413</c:v>
                </c:pt>
                <c:pt idx="380">
                  <c:v>142.99197734780557</c:v>
                </c:pt>
                <c:pt idx="381">
                  <c:v>149.45729117508259</c:v>
                </c:pt>
                <c:pt idx="382">
                  <c:v>144.64369985842382</c:v>
                </c:pt>
                <c:pt idx="383">
                  <c:v>144.12458706937235</c:v>
                </c:pt>
                <c:pt idx="384">
                  <c:v>161.86880604058521</c:v>
                </c:pt>
                <c:pt idx="385">
                  <c:v>153.18546484190659</c:v>
                </c:pt>
                <c:pt idx="386">
                  <c:v>147.87635677206231</c:v>
                </c:pt>
                <c:pt idx="387">
                  <c:v>136.24351109013688</c:v>
                </c:pt>
                <c:pt idx="388">
                  <c:v>136.80981595092027</c:v>
                </c:pt>
                <c:pt idx="389">
                  <c:v>141.31665880132138</c:v>
                </c:pt>
                <c:pt idx="390">
                  <c:v>139.73572439830107</c:v>
                </c:pt>
                <c:pt idx="391">
                  <c:v>139.94808872109488</c:v>
                </c:pt>
                <c:pt idx="392">
                  <c:v>147.7819726285984</c:v>
                </c:pt>
                <c:pt idx="393">
                  <c:v>147.00330344502126</c:v>
                </c:pt>
                <c:pt idx="394">
                  <c:v>139.75932043416708</c:v>
                </c:pt>
                <c:pt idx="395">
                  <c:v>144.0773949976404</c:v>
                </c:pt>
                <c:pt idx="396">
                  <c:v>152.87871637564891</c:v>
                </c:pt>
                <c:pt idx="397">
                  <c:v>139.12222746578576</c:v>
                </c:pt>
                <c:pt idx="398">
                  <c:v>138.08400188768289</c:v>
                </c:pt>
                <c:pt idx="399">
                  <c:v>137.30533270410572</c:v>
                </c:pt>
                <c:pt idx="400">
                  <c:v>131.47711184521003</c:v>
                </c:pt>
                <c:pt idx="401">
                  <c:v>134.70976875884853</c:v>
                </c:pt>
                <c:pt idx="402">
                  <c:v>136.31429919773478</c:v>
                </c:pt>
                <c:pt idx="403">
                  <c:v>145.39877300613497</c:v>
                </c:pt>
                <c:pt idx="404">
                  <c:v>149.7404436054743</c:v>
                </c:pt>
                <c:pt idx="405">
                  <c:v>155.75743275129781</c:v>
                </c:pt>
                <c:pt idx="406">
                  <c:v>190.34922133081645</c:v>
                </c:pt>
                <c:pt idx="407">
                  <c:v>172.8881547899953</c:v>
                </c:pt>
                <c:pt idx="408">
                  <c:v>190.04247286455879</c:v>
                </c:pt>
                <c:pt idx="409">
                  <c:v>190.44360547428033</c:v>
                </c:pt>
                <c:pt idx="410">
                  <c:v>191.17508258612557</c:v>
                </c:pt>
                <c:pt idx="411">
                  <c:v>187.09296838131198</c:v>
                </c:pt>
                <c:pt idx="412">
                  <c:v>196.9561113732893</c:v>
                </c:pt>
                <c:pt idx="413">
                  <c:v>170.52855120339785</c:v>
                </c:pt>
                <c:pt idx="414">
                  <c:v>215.83294006606891</c:v>
                </c:pt>
                <c:pt idx="415">
                  <c:v>198.98537045776311</c:v>
                </c:pt>
                <c:pt idx="416">
                  <c:v>200.58990089664937</c:v>
                </c:pt>
                <c:pt idx="417">
                  <c:v>218.26333176026429</c:v>
                </c:pt>
                <c:pt idx="418">
                  <c:v>239.31099575271358</c:v>
                </c:pt>
                <c:pt idx="419">
                  <c:v>220.76451156205761</c:v>
                </c:pt>
                <c:pt idx="420">
                  <c:v>198.4426616328457</c:v>
                </c:pt>
                <c:pt idx="421">
                  <c:v>263.61491269466734</c:v>
                </c:pt>
                <c:pt idx="422">
                  <c:v>238.46153846153851</c:v>
                </c:pt>
                <c:pt idx="423">
                  <c:v>218.52288815479</c:v>
                </c:pt>
                <c:pt idx="424">
                  <c:v>233.34119867862202</c:v>
                </c:pt>
                <c:pt idx="425">
                  <c:v>222.48702218027375</c:v>
                </c:pt>
                <c:pt idx="426">
                  <c:v>221.96790939122229</c:v>
                </c:pt>
                <c:pt idx="427">
                  <c:v>254.24728645587544</c:v>
                </c:pt>
                <c:pt idx="428">
                  <c:v>267.69702689948093</c:v>
                </c:pt>
                <c:pt idx="429">
                  <c:v>259.67437470504962</c:v>
                </c:pt>
                <c:pt idx="430">
                  <c:v>284.61538461538464</c:v>
                </c:pt>
                <c:pt idx="431">
                  <c:v>265.26663520528558</c:v>
                </c:pt>
                <c:pt idx="432">
                  <c:v>304.31807456347337</c:v>
                </c:pt>
                <c:pt idx="433">
                  <c:v>299.95280792826804</c:v>
                </c:pt>
                <c:pt idx="434">
                  <c:v>246.93251533742333</c:v>
                </c:pt>
                <c:pt idx="435">
                  <c:v>251.74610665408215</c:v>
                </c:pt>
                <c:pt idx="436">
                  <c:v>253.86974988201985</c:v>
                </c:pt>
                <c:pt idx="437">
                  <c:v>269.8442661632846</c:v>
                </c:pt>
                <c:pt idx="438">
                  <c:v>265.54978763567721</c:v>
                </c:pt>
                <c:pt idx="439">
                  <c:v>264.70033034450211</c:v>
                </c:pt>
                <c:pt idx="440">
                  <c:v>277.37140160453049</c:v>
                </c:pt>
                <c:pt idx="441">
                  <c:v>298.91458235016518</c:v>
                </c:pt>
                <c:pt idx="442">
                  <c:v>255.89900896649368</c:v>
                </c:pt>
                <c:pt idx="443">
                  <c:v>345.21000471920723</c:v>
                </c:pt>
                <c:pt idx="444">
                  <c:v>320.50495516753188</c:v>
                </c:pt>
                <c:pt idx="445">
                  <c:v>265.12505899008971</c:v>
                </c:pt>
                <c:pt idx="446">
                  <c:v>272.39263803680984</c:v>
                </c:pt>
                <c:pt idx="447">
                  <c:v>283.88390750353943</c:v>
                </c:pt>
                <c:pt idx="448">
                  <c:v>277.5129778197263</c:v>
                </c:pt>
                <c:pt idx="449">
                  <c:v>225.22416234072676</c:v>
                </c:pt>
                <c:pt idx="450">
                  <c:v>230.03775365738562</c:v>
                </c:pt>
                <c:pt idx="451">
                  <c:v>216.94195375176974</c:v>
                </c:pt>
                <c:pt idx="452">
                  <c:v>215.85653610193489</c:v>
                </c:pt>
                <c:pt idx="453">
                  <c:v>203.89334591788582</c:v>
                </c:pt>
                <c:pt idx="454">
                  <c:v>194.17177914110431</c:v>
                </c:pt>
                <c:pt idx="455">
                  <c:v>193.79424256724872</c:v>
                </c:pt>
                <c:pt idx="456">
                  <c:v>191.71779141104298</c:v>
                </c:pt>
                <c:pt idx="457">
                  <c:v>185.04011326097216</c:v>
                </c:pt>
                <c:pt idx="458">
                  <c:v>187.06937234544597</c:v>
                </c:pt>
                <c:pt idx="459">
                  <c:v>178.43322321849934</c:v>
                </c:pt>
                <c:pt idx="460">
                  <c:v>186.10193487494104</c:v>
                </c:pt>
                <c:pt idx="461">
                  <c:v>182.49174138744692</c:v>
                </c:pt>
                <c:pt idx="462">
                  <c:v>169.67909391222275</c:v>
                </c:pt>
                <c:pt idx="463">
                  <c:v>167.46106654082118</c:v>
                </c:pt>
                <c:pt idx="464">
                  <c:v>172.27465785747998</c:v>
                </c:pt>
                <c:pt idx="465">
                  <c:v>194.31335535630015</c:v>
                </c:pt>
                <c:pt idx="466">
                  <c:v>203.2562529495045</c:v>
                </c:pt>
                <c:pt idx="467">
                  <c:v>191.78857951864089</c:v>
                </c:pt>
                <c:pt idx="468">
                  <c:v>193.39310995752714</c:v>
                </c:pt>
                <c:pt idx="469">
                  <c:v>195.49315714959889</c:v>
                </c:pt>
                <c:pt idx="470">
                  <c:v>204.86078338839079</c:v>
                </c:pt>
                <c:pt idx="471">
                  <c:v>210.0283152430392</c:v>
                </c:pt>
                <c:pt idx="472">
                  <c:v>217.50825861255311</c:v>
                </c:pt>
                <c:pt idx="473">
                  <c:v>225.93204341670599</c:v>
                </c:pt>
                <c:pt idx="474">
                  <c:v>225.69608305804624</c:v>
                </c:pt>
                <c:pt idx="475">
                  <c:v>271.73194903256257</c:v>
                </c:pt>
                <c:pt idx="476">
                  <c:v>248.72581406323741</c:v>
                </c:pt>
                <c:pt idx="477">
                  <c:v>243.20434167059938</c:v>
                </c:pt>
                <c:pt idx="478">
                  <c:v>230.32090608777725</c:v>
                </c:pt>
                <c:pt idx="479">
                  <c:v>210.26427560169893</c:v>
                </c:pt>
                <c:pt idx="480">
                  <c:v>203.16186880604059</c:v>
                </c:pt>
                <c:pt idx="481">
                  <c:v>206.86644643699861</c:v>
                </c:pt>
                <c:pt idx="482">
                  <c:v>202.64275601698913</c:v>
                </c:pt>
                <c:pt idx="483">
                  <c:v>211.58565361019353</c:v>
                </c:pt>
                <c:pt idx="484">
                  <c:v>211.58565361019353</c:v>
                </c:pt>
                <c:pt idx="485">
                  <c:v>200.09438414346391</c:v>
                </c:pt>
                <c:pt idx="486">
                  <c:v>202.33600755073149</c:v>
                </c:pt>
                <c:pt idx="487">
                  <c:v>201.08541764983485</c:v>
                </c:pt>
                <c:pt idx="488">
                  <c:v>175.15337423312886</c:v>
                </c:pt>
                <c:pt idx="489">
                  <c:v>175.90844738084004</c:v>
                </c:pt>
                <c:pt idx="490">
                  <c:v>171.33081642284097</c:v>
                </c:pt>
                <c:pt idx="491">
                  <c:v>172.41623407267582</c:v>
                </c:pt>
                <c:pt idx="492">
                  <c:v>176.75790467201512</c:v>
                </c:pt>
                <c:pt idx="493">
                  <c:v>192.52005663048612</c:v>
                </c:pt>
                <c:pt idx="494">
                  <c:v>204.03492213308166</c:v>
                </c:pt>
                <c:pt idx="495">
                  <c:v>185.93676262387922</c:v>
                </c:pt>
                <c:pt idx="496">
                  <c:v>188.69749882019821</c:v>
                </c:pt>
                <c:pt idx="497">
                  <c:v>185.01651722510621</c:v>
                </c:pt>
                <c:pt idx="498">
                  <c:v>188.83907503539407</c:v>
                </c:pt>
                <c:pt idx="499">
                  <c:v>192.42567248702218</c:v>
                </c:pt>
                <c:pt idx="500">
                  <c:v>196.22463426144412</c:v>
                </c:pt>
                <c:pt idx="501">
                  <c:v>192.0717319490326</c:v>
                </c:pt>
                <c:pt idx="502">
                  <c:v>190.04247286455879</c:v>
                </c:pt>
                <c:pt idx="503">
                  <c:v>189.71212836243512</c:v>
                </c:pt>
                <c:pt idx="504">
                  <c:v>191.15148655025959</c:v>
                </c:pt>
                <c:pt idx="505">
                  <c:v>195.6583294006607</c:v>
                </c:pt>
                <c:pt idx="506">
                  <c:v>203.09108069844268</c:v>
                </c:pt>
                <c:pt idx="507">
                  <c:v>198.06512505899013</c:v>
                </c:pt>
                <c:pt idx="508">
                  <c:v>195.375176970269</c:v>
                </c:pt>
                <c:pt idx="509">
                  <c:v>196.20103822557812</c:v>
                </c:pt>
                <c:pt idx="510">
                  <c:v>197.64039641340256</c:v>
                </c:pt>
                <c:pt idx="511">
                  <c:v>199.19773478055689</c:v>
                </c:pt>
                <c:pt idx="512">
                  <c:v>198.04152902312416</c:v>
                </c:pt>
                <c:pt idx="513">
                  <c:v>183.05804624823031</c:v>
                </c:pt>
                <c:pt idx="514">
                  <c:v>168.87682869277961</c:v>
                </c:pt>
                <c:pt idx="515">
                  <c:v>166.5172251061822</c:v>
                </c:pt>
                <c:pt idx="516">
                  <c:v>163.87446908919304</c:v>
                </c:pt>
              </c:numCache>
            </c:numRef>
          </c:val>
        </c:ser>
        <c:dLbls>
          <c:showLegendKey val="0"/>
          <c:showVal val="0"/>
          <c:showCatName val="0"/>
          <c:showSerName val="0"/>
          <c:showPercent val="0"/>
          <c:showBubbleSize val="0"/>
        </c:dLbls>
        <c:axId val="139533312"/>
        <c:axId val="139531776"/>
      </c:areaChart>
      <c:lineChart>
        <c:grouping val="standard"/>
        <c:varyColors val="0"/>
        <c:ser>
          <c:idx val="0"/>
          <c:order val="0"/>
          <c:tx>
            <c:strRef>
              <c:f>[DATA.xlsx]Sheet1!$Z$3</c:f>
              <c:strCache>
                <c:ptCount val="1"/>
                <c:pt idx="0">
                  <c:v>ETE GA Equity</c:v>
                </c:pt>
              </c:strCache>
            </c:strRef>
          </c:tx>
          <c:marker>
            <c:symbol val="none"/>
          </c:marker>
          <c:cat>
            <c:numRef>
              <c:f>[DATA.xlsx]Sheet1!$Y$4:$Y$520</c:f>
              <c:numCache>
                <c:formatCode>m/d/yyyy</c:formatCode>
                <c:ptCount val="517"/>
                <c:pt idx="0">
                  <c:v>39087</c:v>
                </c:pt>
                <c:pt idx="1">
                  <c:v>39094</c:v>
                </c:pt>
                <c:pt idx="2">
                  <c:v>39101</c:v>
                </c:pt>
                <c:pt idx="3">
                  <c:v>39108</c:v>
                </c:pt>
                <c:pt idx="4">
                  <c:v>39115</c:v>
                </c:pt>
                <c:pt idx="5">
                  <c:v>39122</c:v>
                </c:pt>
                <c:pt idx="6">
                  <c:v>39129</c:v>
                </c:pt>
                <c:pt idx="7">
                  <c:v>39136</c:v>
                </c:pt>
                <c:pt idx="8">
                  <c:v>39143</c:v>
                </c:pt>
                <c:pt idx="9">
                  <c:v>39150</c:v>
                </c:pt>
                <c:pt idx="10">
                  <c:v>39157</c:v>
                </c:pt>
                <c:pt idx="11">
                  <c:v>39164</c:v>
                </c:pt>
                <c:pt idx="12">
                  <c:v>39171</c:v>
                </c:pt>
                <c:pt idx="13">
                  <c:v>39178</c:v>
                </c:pt>
                <c:pt idx="14">
                  <c:v>39185</c:v>
                </c:pt>
                <c:pt idx="15">
                  <c:v>39192</c:v>
                </c:pt>
                <c:pt idx="16">
                  <c:v>39199</c:v>
                </c:pt>
                <c:pt idx="17">
                  <c:v>39206</c:v>
                </c:pt>
                <c:pt idx="18">
                  <c:v>39213</c:v>
                </c:pt>
                <c:pt idx="19">
                  <c:v>39220</c:v>
                </c:pt>
                <c:pt idx="20">
                  <c:v>39227</c:v>
                </c:pt>
                <c:pt idx="21">
                  <c:v>39234</c:v>
                </c:pt>
                <c:pt idx="22">
                  <c:v>39241</c:v>
                </c:pt>
                <c:pt idx="23">
                  <c:v>39248</c:v>
                </c:pt>
                <c:pt idx="24">
                  <c:v>39255</c:v>
                </c:pt>
                <c:pt idx="25">
                  <c:v>39262</c:v>
                </c:pt>
                <c:pt idx="26">
                  <c:v>39269</c:v>
                </c:pt>
                <c:pt idx="27">
                  <c:v>39276</c:v>
                </c:pt>
                <c:pt idx="28">
                  <c:v>39283</c:v>
                </c:pt>
                <c:pt idx="29">
                  <c:v>39290</c:v>
                </c:pt>
                <c:pt idx="30">
                  <c:v>39297</c:v>
                </c:pt>
                <c:pt idx="31">
                  <c:v>39304</c:v>
                </c:pt>
                <c:pt idx="32">
                  <c:v>39311</c:v>
                </c:pt>
                <c:pt idx="33">
                  <c:v>39318</c:v>
                </c:pt>
                <c:pt idx="34">
                  <c:v>39325</c:v>
                </c:pt>
                <c:pt idx="35">
                  <c:v>39332</c:v>
                </c:pt>
                <c:pt idx="36">
                  <c:v>39339</c:v>
                </c:pt>
                <c:pt idx="37">
                  <c:v>39346</c:v>
                </c:pt>
                <c:pt idx="38">
                  <c:v>39353</c:v>
                </c:pt>
                <c:pt idx="39">
                  <c:v>39360</c:v>
                </c:pt>
                <c:pt idx="40">
                  <c:v>39367</c:v>
                </c:pt>
                <c:pt idx="41">
                  <c:v>39374</c:v>
                </c:pt>
                <c:pt idx="42">
                  <c:v>39381</c:v>
                </c:pt>
                <c:pt idx="43">
                  <c:v>39388</c:v>
                </c:pt>
                <c:pt idx="44">
                  <c:v>39395</c:v>
                </c:pt>
                <c:pt idx="45">
                  <c:v>39402</c:v>
                </c:pt>
                <c:pt idx="46">
                  <c:v>39409</c:v>
                </c:pt>
                <c:pt idx="47">
                  <c:v>39416</c:v>
                </c:pt>
                <c:pt idx="48">
                  <c:v>39423</c:v>
                </c:pt>
                <c:pt idx="49">
                  <c:v>39430</c:v>
                </c:pt>
                <c:pt idx="50">
                  <c:v>39437</c:v>
                </c:pt>
                <c:pt idx="51">
                  <c:v>39444</c:v>
                </c:pt>
                <c:pt idx="52">
                  <c:v>39451</c:v>
                </c:pt>
                <c:pt idx="53">
                  <c:v>39458</c:v>
                </c:pt>
                <c:pt idx="54">
                  <c:v>39465</c:v>
                </c:pt>
                <c:pt idx="55">
                  <c:v>39472</c:v>
                </c:pt>
                <c:pt idx="56">
                  <c:v>39479</c:v>
                </c:pt>
                <c:pt idx="57">
                  <c:v>39486</c:v>
                </c:pt>
                <c:pt idx="58">
                  <c:v>39493</c:v>
                </c:pt>
                <c:pt idx="59">
                  <c:v>39500</c:v>
                </c:pt>
                <c:pt idx="60">
                  <c:v>39507</c:v>
                </c:pt>
                <c:pt idx="61">
                  <c:v>39514</c:v>
                </c:pt>
                <c:pt idx="62">
                  <c:v>39521</c:v>
                </c:pt>
                <c:pt idx="63">
                  <c:v>39528</c:v>
                </c:pt>
                <c:pt idx="64">
                  <c:v>39535</c:v>
                </c:pt>
                <c:pt idx="65">
                  <c:v>39542</c:v>
                </c:pt>
                <c:pt idx="66">
                  <c:v>39549</c:v>
                </c:pt>
                <c:pt idx="67">
                  <c:v>39556</c:v>
                </c:pt>
                <c:pt idx="68">
                  <c:v>39563</c:v>
                </c:pt>
                <c:pt idx="69">
                  <c:v>39570</c:v>
                </c:pt>
                <c:pt idx="70">
                  <c:v>39577</c:v>
                </c:pt>
                <c:pt idx="71">
                  <c:v>39584</c:v>
                </c:pt>
                <c:pt idx="72">
                  <c:v>39591</c:v>
                </c:pt>
                <c:pt idx="73">
                  <c:v>39598</c:v>
                </c:pt>
                <c:pt idx="74">
                  <c:v>39605</c:v>
                </c:pt>
                <c:pt idx="75">
                  <c:v>39612</c:v>
                </c:pt>
                <c:pt idx="76">
                  <c:v>39619</c:v>
                </c:pt>
                <c:pt idx="77">
                  <c:v>39626</c:v>
                </c:pt>
                <c:pt idx="78">
                  <c:v>39633</c:v>
                </c:pt>
                <c:pt idx="79">
                  <c:v>39640</c:v>
                </c:pt>
                <c:pt idx="80">
                  <c:v>39647</c:v>
                </c:pt>
                <c:pt idx="81">
                  <c:v>39654</c:v>
                </c:pt>
                <c:pt idx="82">
                  <c:v>39661</c:v>
                </c:pt>
                <c:pt idx="83">
                  <c:v>39668</c:v>
                </c:pt>
                <c:pt idx="84">
                  <c:v>39675</c:v>
                </c:pt>
                <c:pt idx="85">
                  <c:v>39682</c:v>
                </c:pt>
                <c:pt idx="86">
                  <c:v>39689</c:v>
                </c:pt>
                <c:pt idx="87">
                  <c:v>39696</c:v>
                </c:pt>
                <c:pt idx="88">
                  <c:v>39703</c:v>
                </c:pt>
                <c:pt idx="89">
                  <c:v>39710</c:v>
                </c:pt>
                <c:pt idx="90">
                  <c:v>39717</c:v>
                </c:pt>
                <c:pt idx="91">
                  <c:v>39724</c:v>
                </c:pt>
                <c:pt idx="92">
                  <c:v>39731</c:v>
                </c:pt>
                <c:pt idx="93">
                  <c:v>39738</c:v>
                </c:pt>
                <c:pt idx="94">
                  <c:v>39745</c:v>
                </c:pt>
                <c:pt idx="95">
                  <c:v>39752</c:v>
                </c:pt>
                <c:pt idx="96">
                  <c:v>39759</c:v>
                </c:pt>
                <c:pt idx="97">
                  <c:v>39766</c:v>
                </c:pt>
                <c:pt idx="98">
                  <c:v>39773</c:v>
                </c:pt>
                <c:pt idx="99">
                  <c:v>39780</c:v>
                </c:pt>
                <c:pt idx="100">
                  <c:v>39787</c:v>
                </c:pt>
                <c:pt idx="101">
                  <c:v>39794</c:v>
                </c:pt>
                <c:pt idx="102">
                  <c:v>39801</c:v>
                </c:pt>
                <c:pt idx="103">
                  <c:v>39808</c:v>
                </c:pt>
                <c:pt idx="104">
                  <c:v>39815</c:v>
                </c:pt>
                <c:pt idx="105">
                  <c:v>39822</c:v>
                </c:pt>
                <c:pt idx="106">
                  <c:v>39829</c:v>
                </c:pt>
                <c:pt idx="107">
                  <c:v>39836</c:v>
                </c:pt>
                <c:pt idx="108">
                  <c:v>39843</c:v>
                </c:pt>
                <c:pt idx="109">
                  <c:v>39850</c:v>
                </c:pt>
                <c:pt idx="110">
                  <c:v>39857</c:v>
                </c:pt>
                <c:pt idx="111">
                  <c:v>39864</c:v>
                </c:pt>
                <c:pt idx="112">
                  <c:v>39871</c:v>
                </c:pt>
                <c:pt idx="113">
                  <c:v>39878</c:v>
                </c:pt>
                <c:pt idx="114">
                  <c:v>39885</c:v>
                </c:pt>
                <c:pt idx="115">
                  <c:v>39892</c:v>
                </c:pt>
                <c:pt idx="116">
                  <c:v>39899</c:v>
                </c:pt>
                <c:pt idx="117">
                  <c:v>39906</c:v>
                </c:pt>
                <c:pt idx="118">
                  <c:v>39913</c:v>
                </c:pt>
                <c:pt idx="119">
                  <c:v>39920</c:v>
                </c:pt>
                <c:pt idx="120">
                  <c:v>39927</c:v>
                </c:pt>
                <c:pt idx="121">
                  <c:v>39934</c:v>
                </c:pt>
                <c:pt idx="122">
                  <c:v>39941</c:v>
                </c:pt>
                <c:pt idx="123">
                  <c:v>39948</c:v>
                </c:pt>
                <c:pt idx="124">
                  <c:v>39955</c:v>
                </c:pt>
                <c:pt idx="125">
                  <c:v>39962</c:v>
                </c:pt>
                <c:pt idx="126">
                  <c:v>39969</c:v>
                </c:pt>
                <c:pt idx="127">
                  <c:v>39976</c:v>
                </c:pt>
                <c:pt idx="128">
                  <c:v>39983</c:v>
                </c:pt>
                <c:pt idx="129">
                  <c:v>39990</c:v>
                </c:pt>
                <c:pt idx="130">
                  <c:v>39997</c:v>
                </c:pt>
                <c:pt idx="131">
                  <c:v>40004</c:v>
                </c:pt>
                <c:pt idx="132">
                  <c:v>40011</c:v>
                </c:pt>
                <c:pt idx="133">
                  <c:v>40018</c:v>
                </c:pt>
                <c:pt idx="134">
                  <c:v>40025</c:v>
                </c:pt>
                <c:pt idx="135">
                  <c:v>40032</c:v>
                </c:pt>
                <c:pt idx="136">
                  <c:v>40039</c:v>
                </c:pt>
                <c:pt idx="137">
                  <c:v>40046</c:v>
                </c:pt>
                <c:pt idx="138">
                  <c:v>40053</c:v>
                </c:pt>
                <c:pt idx="139">
                  <c:v>40060</c:v>
                </c:pt>
                <c:pt idx="140">
                  <c:v>40067</c:v>
                </c:pt>
                <c:pt idx="141">
                  <c:v>40074</c:v>
                </c:pt>
                <c:pt idx="142">
                  <c:v>40081</c:v>
                </c:pt>
                <c:pt idx="143">
                  <c:v>40088</c:v>
                </c:pt>
                <c:pt idx="144">
                  <c:v>40095</c:v>
                </c:pt>
                <c:pt idx="145">
                  <c:v>40102</c:v>
                </c:pt>
                <c:pt idx="146">
                  <c:v>40109</c:v>
                </c:pt>
                <c:pt idx="147">
                  <c:v>40116</c:v>
                </c:pt>
                <c:pt idx="148">
                  <c:v>40123</c:v>
                </c:pt>
                <c:pt idx="149">
                  <c:v>40130</c:v>
                </c:pt>
                <c:pt idx="150">
                  <c:v>40137</c:v>
                </c:pt>
                <c:pt idx="151">
                  <c:v>40144</c:v>
                </c:pt>
                <c:pt idx="152">
                  <c:v>40151</c:v>
                </c:pt>
                <c:pt idx="153">
                  <c:v>40158</c:v>
                </c:pt>
                <c:pt idx="154">
                  <c:v>40165</c:v>
                </c:pt>
                <c:pt idx="155">
                  <c:v>40172</c:v>
                </c:pt>
                <c:pt idx="156">
                  <c:v>40179</c:v>
                </c:pt>
                <c:pt idx="157">
                  <c:v>40186</c:v>
                </c:pt>
                <c:pt idx="158">
                  <c:v>40193</c:v>
                </c:pt>
                <c:pt idx="159">
                  <c:v>40200</c:v>
                </c:pt>
                <c:pt idx="160">
                  <c:v>40207</c:v>
                </c:pt>
                <c:pt idx="161">
                  <c:v>40214</c:v>
                </c:pt>
                <c:pt idx="162">
                  <c:v>40221</c:v>
                </c:pt>
                <c:pt idx="163">
                  <c:v>40228</c:v>
                </c:pt>
                <c:pt idx="164">
                  <c:v>40235</c:v>
                </c:pt>
                <c:pt idx="165">
                  <c:v>40242</c:v>
                </c:pt>
                <c:pt idx="166">
                  <c:v>40249</c:v>
                </c:pt>
                <c:pt idx="167">
                  <c:v>40256</c:v>
                </c:pt>
                <c:pt idx="168">
                  <c:v>40263</c:v>
                </c:pt>
                <c:pt idx="169">
                  <c:v>40270</c:v>
                </c:pt>
                <c:pt idx="170">
                  <c:v>40277</c:v>
                </c:pt>
                <c:pt idx="171">
                  <c:v>40284</c:v>
                </c:pt>
                <c:pt idx="172">
                  <c:v>40291</c:v>
                </c:pt>
                <c:pt idx="173">
                  <c:v>40298</c:v>
                </c:pt>
                <c:pt idx="174">
                  <c:v>40305</c:v>
                </c:pt>
                <c:pt idx="175">
                  <c:v>40312</c:v>
                </c:pt>
                <c:pt idx="176">
                  <c:v>40319</c:v>
                </c:pt>
                <c:pt idx="177">
                  <c:v>40326</c:v>
                </c:pt>
                <c:pt idx="178">
                  <c:v>40333</c:v>
                </c:pt>
                <c:pt idx="179">
                  <c:v>40340</c:v>
                </c:pt>
                <c:pt idx="180">
                  <c:v>40347</c:v>
                </c:pt>
                <c:pt idx="181">
                  <c:v>40354</c:v>
                </c:pt>
                <c:pt idx="182">
                  <c:v>40361</c:v>
                </c:pt>
                <c:pt idx="183">
                  <c:v>40368</c:v>
                </c:pt>
                <c:pt idx="184">
                  <c:v>40375</c:v>
                </c:pt>
                <c:pt idx="185">
                  <c:v>40382</c:v>
                </c:pt>
                <c:pt idx="186">
                  <c:v>40389</c:v>
                </c:pt>
                <c:pt idx="187">
                  <c:v>40396</c:v>
                </c:pt>
                <c:pt idx="188">
                  <c:v>40403</c:v>
                </c:pt>
                <c:pt idx="189">
                  <c:v>40410</c:v>
                </c:pt>
                <c:pt idx="190">
                  <c:v>40417</c:v>
                </c:pt>
                <c:pt idx="191">
                  <c:v>40424</c:v>
                </c:pt>
                <c:pt idx="192">
                  <c:v>40431</c:v>
                </c:pt>
                <c:pt idx="193">
                  <c:v>40438</c:v>
                </c:pt>
                <c:pt idx="194">
                  <c:v>40445</c:v>
                </c:pt>
                <c:pt idx="195">
                  <c:v>40452</c:v>
                </c:pt>
                <c:pt idx="196">
                  <c:v>40459</c:v>
                </c:pt>
                <c:pt idx="197">
                  <c:v>40466</c:v>
                </c:pt>
                <c:pt idx="198">
                  <c:v>40473</c:v>
                </c:pt>
                <c:pt idx="199">
                  <c:v>40480</c:v>
                </c:pt>
                <c:pt idx="200">
                  <c:v>40487</c:v>
                </c:pt>
                <c:pt idx="201">
                  <c:v>40494</c:v>
                </c:pt>
                <c:pt idx="202">
                  <c:v>40501</c:v>
                </c:pt>
                <c:pt idx="203">
                  <c:v>40508</c:v>
                </c:pt>
                <c:pt idx="204">
                  <c:v>40515</c:v>
                </c:pt>
                <c:pt idx="205">
                  <c:v>40522</c:v>
                </c:pt>
                <c:pt idx="206">
                  <c:v>40529</c:v>
                </c:pt>
                <c:pt idx="207">
                  <c:v>40536</c:v>
                </c:pt>
                <c:pt idx="208">
                  <c:v>40543</c:v>
                </c:pt>
                <c:pt idx="209">
                  <c:v>40550</c:v>
                </c:pt>
                <c:pt idx="210">
                  <c:v>40557</c:v>
                </c:pt>
                <c:pt idx="211">
                  <c:v>40564</c:v>
                </c:pt>
                <c:pt idx="212">
                  <c:v>40571</c:v>
                </c:pt>
                <c:pt idx="213">
                  <c:v>40578</c:v>
                </c:pt>
                <c:pt idx="214">
                  <c:v>40585</c:v>
                </c:pt>
                <c:pt idx="215">
                  <c:v>40592</c:v>
                </c:pt>
                <c:pt idx="216">
                  <c:v>40599</c:v>
                </c:pt>
                <c:pt idx="217">
                  <c:v>40606</c:v>
                </c:pt>
                <c:pt idx="218">
                  <c:v>40613</c:v>
                </c:pt>
                <c:pt idx="219">
                  <c:v>40620</c:v>
                </c:pt>
                <c:pt idx="220">
                  <c:v>40627</c:v>
                </c:pt>
                <c:pt idx="221">
                  <c:v>40634</c:v>
                </c:pt>
                <c:pt idx="222">
                  <c:v>40641</c:v>
                </c:pt>
                <c:pt idx="223">
                  <c:v>40648</c:v>
                </c:pt>
                <c:pt idx="224">
                  <c:v>40655</c:v>
                </c:pt>
                <c:pt idx="225">
                  <c:v>40662</c:v>
                </c:pt>
                <c:pt idx="226">
                  <c:v>40669</c:v>
                </c:pt>
                <c:pt idx="227">
                  <c:v>40676</c:v>
                </c:pt>
                <c:pt idx="228">
                  <c:v>40683</c:v>
                </c:pt>
                <c:pt idx="229">
                  <c:v>40690</c:v>
                </c:pt>
                <c:pt idx="230">
                  <c:v>40697</c:v>
                </c:pt>
                <c:pt idx="231">
                  <c:v>40704</c:v>
                </c:pt>
                <c:pt idx="232">
                  <c:v>40711</c:v>
                </c:pt>
                <c:pt idx="233">
                  <c:v>40718</c:v>
                </c:pt>
                <c:pt idx="234">
                  <c:v>40725</c:v>
                </c:pt>
                <c:pt idx="235">
                  <c:v>40732</c:v>
                </c:pt>
                <c:pt idx="236">
                  <c:v>40739</c:v>
                </c:pt>
                <c:pt idx="237">
                  <c:v>40746</c:v>
                </c:pt>
                <c:pt idx="238">
                  <c:v>40753</c:v>
                </c:pt>
                <c:pt idx="239">
                  <c:v>40760</c:v>
                </c:pt>
                <c:pt idx="240">
                  <c:v>40767</c:v>
                </c:pt>
                <c:pt idx="241">
                  <c:v>40774</c:v>
                </c:pt>
                <c:pt idx="242">
                  <c:v>40781</c:v>
                </c:pt>
                <c:pt idx="243">
                  <c:v>40788</c:v>
                </c:pt>
                <c:pt idx="244">
                  <c:v>40795</c:v>
                </c:pt>
                <c:pt idx="245">
                  <c:v>40802</c:v>
                </c:pt>
                <c:pt idx="246">
                  <c:v>40809</c:v>
                </c:pt>
                <c:pt idx="247">
                  <c:v>40816</c:v>
                </c:pt>
                <c:pt idx="248">
                  <c:v>40823</c:v>
                </c:pt>
                <c:pt idx="249">
                  <c:v>40830</c:v>
                </c:pt>
                <c:pt idx="250">
                  <c:v>40837</c:v>
                </c:pt>
                <c:pt idx="251">
                  <c:v>40844</c:v>
                </c:pt>
                <c:pt idx="252">
                  <c:v>40851</c:v>
                </c:pt>
                <c:pt idx="253">
                  <c:v>40858</c:v>
                </c:pt>
                <c:pt idx="254">
                  <c:v>40865</c:v>
                </c:pt>
                <c:pt idx="255">
                  <c:v>40872</c:v>
                </c:pt>
                <c:pt idx="256">
                  <c:v>40879</c:v>
                </c:pt>
                <c:pt idx="257">
                  <c:v>40886</c:v>
                </c:pt>
                <c:pt idx="258">
                  <c:v>40893</c:v>
                </c:pt>
                <c:pt idx="259">
                  <c:v>40900</c:v>
                </c:pt>
                <c:pt idx="260">
                  <c:v>40907</c:v>
                </c:pt>
                <c:pt idx="261">
                  <c:v>40914</c:v>
                </c:pt>
                <c:pt idx="262">
                  <c:v>40921</c:v>
                </c:pt>
                <c:pt idx="263">
                  <c:v>40928</c:v>
                </c:pt>
                <c:pt idx="264">
                  <c:v>40935</c:v>
                </c:pt>
                <c:pt idx="265">
                  <c:v>40942</c:v>
                </c:pt>
                <c:pt idx="266">
                  <c:v>40949</c:v>
                </c:pt>
                <c:pt idx="267">
                  <c:v>40956</c:v>
                </c:pt>
                <c:pt idx="268">
                  <c:v>40963</c:v>
                </c:pt>
                <c:pt idx="269">
                  <c:v>40970</c:v>
                </c:pt>
                <c:pt idx="270">
                  <c:v>40977</c:v>
                </c:pt>
                <c:pt idx="271">
                  <c:v>40984</c:v>
                </c:pt>
                <c:pt idx="272">
                  <c:v>40991</c:v>
                </c:pt>
                <c:pt idx="273">
                  <c:v>40998</c:v>
                </c:pt>
                <c:pt idx="274">
                  <c:v>41005</c:v>
                </c:pt>
                <c:pt idx="275">
                  <c:v>41012</c:v>
                </c:pt>
                <c:pt idx="276">
                  <c:v>41019</c:v>
                </c:pt>
                <c:pt idx="277">
                  <c:v>41026</c:v>
                </c:pt>
                <c:pt idx="278">
                  <c:v>41033</c:v>
                </c:pt>
                <c:pt idx="279">
                  <c:v>41040</c:v>
                </c:pt>
                <c:pt idx="280">
                  <c:v>41047</c:v>
                </c:pt>
                <c:pt idx="281">
                  <c:v>41054</c:v>
                </c:pt>
                <c:pt idx="282">
                  <c:v>41061</c:v>
                </c:pt>
                <c:pt idx="283">
                  <c:v>41068</c:v>
                </c:pt>
                <c:pt idx="284">
                  <c:v>41075</c:v>
                </c:pt>
                <c:pt idx="285">
                  <c:v>41082</c:v>
                </c:pt>
                <c:pt idx="286">
                  <c:v>41089</c:v>
                </c:pt>
                <c:pt idx="287">
                  <c:v>41096</c:v>
                </c:pt>
                <c:pt idx="288">
                  <c:v>41103</c:v>
                </c:pt>
                <c:pt idx="289">
                  <c:v>41110</c:v>
                </c:pt>
                <c:pt idx="290">
                  <c:v>41117</c:v>
                </c:pt>
                <c:pt idx="291">
                  <c:v>41124</c:v>
                </c:pt>
                <c:pt idx="292">
                  <c:v>41131</c:v>
                </c:pt>
                <c:pt idx="293">
                  <c:v>41138</c:v>
                </c:pt>
                <c:pt idx="294">
                  <c:v>41145</c:v>
                </c:pt>
                <c:pt idx="295">
                  <c:v>41152</c:v>
                </c:pt>
                <c:pt idx="296">
                  <c:v>41159</c:v>
                </c:pt>
                <c:pt idx="297">
                  <c:v>41166</c:v>
                </c:pt>
                <c:pt idx="298">
                  <c:v>41173</c:v>
                </c:pt>
                <c:pt idx="299">
                  <c:v>41180</c:v>
                </c:pt>
                <c:pt idx="300">
                  <c:v>41187</c:v>
                </c:pt>
                <c:pt idx="301">
                  <c:v>41194</c:v>
                </c:pt>
                <c:pt idx="302">
                  <c:v>41201</c:v>
                </c:pt>
                <c:pt idx="303">
                  <c:v>41208</c:v>
                </c:pt>
                <c:pt idx="304">
                  <c:v>41215</c:v>
                </c:pt>
                <c:pt idx="305">
                  <c:v>41222</c:v>
                </c:pt>
                <c:pt idx="306">
                  <c:v>41229</c:v>
                </c:pt>
                <c:pt idx="307">
                  <c:v>41236</c:v>
                </c:pt>
                <c:pt idx="308">
                  <c:v>41243</c:v>
                </c:pt>
                <c:pt idx="309">
                  <c:v>41250</c:v>
                </c:pt>
                <c:pt idx="310">
                  <c:v>41257</c:v>
                </c:pt>
                <c:pt idx="311">
                  <c:v>41264</c:v>
                </c:pt>
                <c:pt idx="312">
                  <c:v>41271</c:v>
                </c:pt>
                <c:pt idx="313">
                  <c:v>41278</c:v>
                </c:pt>
                <c:pt idx="314">
                  <c:v>41285</c:v>
                </c:pt>
                <c:pt idx="315">
                  <c:v>41292</c:v>
                </c:pt>
                <c:pt idx="316">
                  <c:v>41299</c:v>
                </c:pt>
                <c:pt idx="317">
                  <c:v>41306</c:v>
                </c:pt>
                <c:pt idx="318">
                  <c:v>41313</c:v>
                </c:pt>
                <c:pt idx="319">
                  <c:v>41320</c:v>
                </c:pt>
                <c:pt idx="320">
                  <c:v>41327</c:v>
                </c:pt>
                <c:pt idx="321">
                  <c:v>41334</c:v>
                </c:pt>
                <c:pt idx="322">
                  <c:v>41341</c:v>
                </c:pt>
                <c:pt idx="323">
                  <c:v>41348</c:v>
                </c:pt>
                <c:pt idx="324">
                  <c:v>41355</c:v>
                </c:pt>
                <c:pt idx="325">
                  <c:v>41362</c:v>
                </c:pt>
                <c:pt idx="326">
                  <c:v>41369</c:v>
                </c:pt>
                <c:pt idx="327">
                  <c:v>41376</c:v>
                </c:pt>
                <c:pt idx="328">
                  <c:v>41383</c:v>
                </c:pt>
                <c:pt idx="329">
                  <c:v>41390</c:v>
                </c:pt>
                <c:pt idx="330">
                  <c:v>41397</c:v>
                </c:pt>
                <c:pt idx="331">
                  <c:v>41404</c:v>
                </c:pt>
                <c:pt idx="332">
                  <c:v>41411</c:v>
                </c:pt>
                <c:pt idx="333">
                  <c:v>41418</c:v>
                </c:pt>
                <c:pt idx="334">
                  <c:v>41425</c:v>
                </c:pt>
                <c:pt idx="335">
                  <c:v>41432</c:v>
                </c:pt>
                <c:pt idx="336">
                  <c:v>41439</c:v>
                </c:pt>
                <c:pt idx="337">
                  <c:v>41446</c:v>
                </c:pt>
                <c:pt idx="338">
                  <c:v>41453</c:v>
                </c:pt>
                <c:pt idx="339">
                  <c:v>41460</c:v>
                </c:pt>
                <c:pt idx="340">
                  <c:v>41467</c:v>
                </c:pt>
                <c:pt idx="341">
                  <c:v>41474</c:v>
                </c:pt>
                <c:pt idx="342">
                  <c:v>41481</c:v>
                </c:pt>
                <c:pt idx="343">
                  <c:v>41488</c:v>
                </c:pt>
                <c:pt idx="344">
                  <c:v>41495</c:v>
                </c:pt>
                <c:pt idx="345">
                  <c:v>41502</c:v>
                </c:pt>
                <c:pt idx="346">
                  <c:v>41509</c:v>
                </c:pt>
                <c:pt idx="347">
                  <c:v>41516</c:v>
                </c:pt>
                <c:pt idx="348">
                  <c:v>41523</c:v>
                </c:pt>
                <c:pt idx="349">
                  <c:v>41530</c:v>
                </c:pt>
                <c:pt idx="350">
                  <c:v>41537</c:v>
                </c:pt>
                <c:pt idx="351">
                  <c:v>41544</c:v>
                </c:pt>
                <c:pt idx="352">
                  <c:v>41551</c:v>
                </c:pt>
                <c:pt idx="353">
                  <c:v>41558</c:v>
                </c:pt>
                <c:pt idx="354">
                  <c:v>41565</c:v>
                </c:pt>
                <c:pt idx="355">
                  <c:v>41572</c:v>
                </c:pt>
                <c:pt idx="356">
                  <c:v>41579</c:v>
                </c:pt>
                <c:pt idx="357">
                  <c:v>41586</c:v>
                </c:pt>
                <c:pt idx="358">
                  <c:v>41593</c:v>
                </c:pt>
                <c:pt idx="359">
                  <c:v>41600</c:v>
                </c:pt>
                <c:pt idx="360">
                  <c:v>41607</c:v>
                </c:pt>
                <c:pt idx="361">
                  <c:v>41614</c:v>
                </c:pt>
                <c:pt idx="362">
                  <c:v>41621</c:v>
                </c:pt>
                <c:pt idx="363">
                  <c:v>41628</c:v>
                </c:pt>
                <c:pt idx="364">
                  <c:v>41635</c:v>
                </c:pt>
                <c:pt idx="365">
                  <c:v>41642</c:v>
                </c:pt>
                <c:pt idx="366">
                  <c:v>41649</c:v>
                </c:pt>
                <c:pt idx="367">
                  <c:v>41656</c:v>
                </c:pt>
                <c:pt idx="368">
                  <c:v>41663</c:v>
                </c:pt>
                <c:pt idx="369">
                  <c:v>41670</c:v>
                </c:pt>
                <c:pt idx="370">
                  <c:v>41677</c:v>
                </c:pt>
                <c:pt idx="371">
                  <c:v>41684</c:v>
                </c:pt>
                <c:pt idx="372">
                  <c:v>41691</c:v>
                </c:pt>
                <c:pt idx="373">
                  <c:v>41698</c:v>
                </c:pt>
                <c:pt idx="374">
                  <c:v>41705</c:v>
                </c:pt>
                <c:pt idx="375">
                  <c:v>41712</c:v>
                </c:pt>
                <c:pt idx="376">
                  <c:v>41719</c:v>
                </c:pt>
                <c:pt idx="377">
                  <c:v>41726</c:v>
                </c:pt>
                <c:pt idx="378">
                  <c:v>41733</c:v>
                </c:pt>
                <c:pt idx="379">
                  <c:v>41740</c:v>
                </c:pt>
                <c:pt idx="380">
                  <c:v>41747</c:v>
                </c:pt>
                <c:pt idx="381">
                  <c:v>41754</c:v>
                </c:pt>
                <c:pt idx="382">
                  <c:v>41761</c:v>
                </c:pt>
                <c:pt idx="383">
                  <c:v>41768</c:v>
                </c:pt>
                <c:pt idx="384">
                  <c:v>41775</c:v>
                </c:pt>
                <c:pt idx="385">
                  <c:v>41782</c:v>
                </c:pt>
                <c:pt idx="386">
                  <c:v>41789</c:v>
                </c:pt>
                <c:pt idx="387">
                  <c:v>41796</c:v>
                </c:pt>
                <c:pt idx="388">
                  <c:v>41803</c:v>
                </c:pt>
                <c:pt idx="389">
                  <c:v>41810</c:v>
                </c:pt>
                <c:pt idx="390">
                  <c:v>41817</c:v>
                </c:pt>
                <c:pt idx="391">
                  <c:v>41824</c:v>
                </c:pt>
                <c:pt idx="392">
                  <c:v>41831</c:v>
                </c:pt>
                <c:pt idx="393">
                  <c:v>41838</c:v>
                </c:pt>
                <c:pt idx="394">
                  <c:v>41845</c:v>
                </c:pt>
                <c:pt idx="395">
                  <c:v>41852</c:v>
                </c:pt>
                <c:pt idx="396">
                  <c:v>41859</c:v>
                </c:pt>
                <c:pt idx="397">
                  <c:v>41866</c:v>
                </c:pt>
                <c:pt idx="398">
                  <c:v>41873</c:v>
                </c:pt>
                <c:pt idx="399">
                  <c:v>41880</c:v>
                </c:pt>
                <c:pt idx="400">
                  <c:v>41887</c:v>
                </c:pt>
                <c:pt idx="401">
                  <c:v>41894</c:v>
                </c:pt>
                <c:pt idx="402">
                  <c:v>41901</c:v>
                </c:pt>
                <c:pt idx="403">
                  <c:v>41908</c:v>
                </c:pt>
                <c:pt idx="404">
                  <c:v>41915</c:v>
                </c:pt>
                <c:pt idx="405">
                  <c:v>41922</c:v>
                </c:pt>
                <c:pt idx="406">
                  <c:v>41929</c:v>
                </c:pt>
                <c:pt idx="407">
                  <c:v>41936</c:v>
                </c:pt>
                <c:pt idx="408">
                  <c:v>41943</c:v>
                </c:pt>
                <c:pt idx="409">
                  <c:v>41950</c:v>
                </c:pt>
                <c:pt idx="410">
                  <c:v>41957</c:v>
                </c:pt>
                <c:pt idx="411">
                  <c:v>41964</c:v>
                </c:pt>
                <c:pt idx="412">
                  <c:v>41971</c:v>
                </c:pt>
                <c:pt idx="413">
                  <c:v>41978</c:v>
                </c:pt>
                <c:pt idx="414">
                  <c:v>41985</c:v>
                </c:pt>
                <c:pt idx="415">
                  <c:v>41992</c:v>
                </c:pt>
                <c:pt idx="416">
                  <c:v>41999</c:v>
                </c:pt>
                <c:pt idx="417">
                  <c:v>42006</c:v>
                </c:pt>
                <c:pt idx="418">
                  <c:v>42013</c:v>
                </c:pt>
                <c:pt idx="419">
                  <c:v>42020</c:v>
                </c:pt>
                <c:pt idx="420">
                  <c:v>42027</c:v>
                </c:pt>
                <c:pt idx="421">
                  <c:v>42034</c:v>
                </c:pt>
                <c:pt idx="422">
                  <c:v>42041</c:v>
                </c:pt>
                <c:pt idx="423">
                  <c:v>42048</c:v>
                </c:pt>
                <c:pt idx="424">
                  <c:v>42055</c:v>
                </c:pt>
                <c:pt idx="425">
                  <c:v>42062</c:v>
                </c:pt>
                <c:pt idx="426">
                  <c:v>42069</c:v>
                </c:pt>
                <c:pt idx="427">
                  <c:v>42076</c:v>
                </c:pt>
                <c:pt idx="428">
                  <c:v>42083</c:v>
                </c:pt>
                <c:pt idx="429">
                  <c:v>42090</c:v>
                </c:pt>
                <c:pt idx="430">
                  <c:v>42097</c:v>
                </c:pt>
                <c:pt idx="431">
                  <c:v>42104</c:v>
                </c:pt>
                <c:pt idx="432">
                  <c:v>42111</c:v>
                </c:pt>
                <c:pt idx="433">
                  <c:v>42118</c:v>
                </c:pt>
                <c:pt idx="434">
                  <c:v>42125</c:v>
                </c:pt>
                <c:pt idx="435">
                  <c:v>42132</c:v>
                </c:pt>
                <c:pt idx="436">
                  <c:v>42139</c:v>
                </c:pt>
                <c:pt idx="437">
                  <c:v>42146</c:v>
                </c:pt>
                <c:pt idx="438">
                  <c:v>42153</c:v>
                </c:pt>
                <c:pt idx="439">
                  <c:v>42160</c:v>
                </c:pt>
                <c:pt idx="440">
                  <c:v>42167</c:v>
                </c:pt>
                <c:pt idx="441">
                  <c:v>42174</c:v>
                </c:pt>
                <c:pt idx="442">
                  <c:v>42181</c:v>
                </c:pt>
                <c:pt idx="443">
                  <c:v>42223</c:v>
                </c:pt>
                <c:pt idx="444">
                  <c:v>42230</c:v>
                </c:pt>
                <c:pt idx="445">
                  <c:v>42237</c:v>
                </c:pt>
                <c:pt idx="446">
                  <c:v>42244</c:v>
                </c:pt>
                <c:pt idx="447">
                  <c:v>42251</c:v>
                </c:pt>
                <c:pt idx="448">
                  <c:v>42258</c:v>
                </c:pt>
                <c:pt idx="449">
                  <c:v>42265</c:v>
                </c:pt>
                <c:pt idx="450">
                  <c:v>42272</c:v>
                </c:pt>
                <c:pt idx="451">
                  <c:v>42279</c:v>
                </c:pt>
                <c:pt idx="452">
                  <c:v>42286</c:v>
                </c:pt>
                <c:pt idx="453">
                  <c:v>42293</c:v>
                </c:pt>
                <c:pt idx="454">
                  <c:v>42300</c:v>
                </c:pt>
                <c:pt idx="455">
                  <c:v>42307</c:v>
                </c:pt>
                <c:pt idx="456">
                  <c:v>42314</c:v>
                </c:pt>
                <c:pt idx="457">
                  <c:v>42321</c:v>
                </c:pt>
                <c:pt idx="458">
                  <c:v>42328</c:v>
                </c:pt>
                <c:pt idx="459">
                  <c:v>42335</c:v>
                </c:pt>
                <c:pt idx="460">
                  <c:v>42342</c:v>
                </c:pt>
                <c:pt idx="461">
                  <c:v>42349</c:v>
                </c:pt>
                <c:pt idx="462">
                  <c:v>42356</c:v>
                </c:pt>
                <c:pt idx="463">
                  <c:v>42363</c:v>
                </c:pt>
                <c:pt idx="464">
                  <c:v>42370</c:v>
                </c:pt>
                <c:pt idx="465">
                  <c:v>42377</c:v>
                </c:pt>
                <c:pt idx="466">
                  <c:v>42384</c:v>
                </c:pt>
                <c:pt idx="467">
                  <c:v>42391</c:v>
                </c:pt>
                <c:pt idx="468">
                  <c:v>42398</c:v>
                </c:pt>
                <c:pt idx="469">
                  <c:v>42405</c:v>
                </c:pt>
                <c:pt idx="470">
                  <c:v>42412</c:v>
                </c:pt>
                <c:pt idx="471">
                  <c:v>42419</c:v>
                </c:pt>
                <c:pt idx="472">
                  <c:v>42426</c:v>
                </c:pt>
                <c:pt idx="473">
                  <c:v>42433</c:v>
                </c:pt>
                <c:pt idx="474">
                  <c:v>42440</c:v>
                </c:pt>
                <c:pt idx="475">
                  <c:v>42447</c:v>
                </c:pt>
                <c:pt idx="476">
                  <c:v>42454</c:v>
                </c:pt>
                <c:pt idx="477">
                  <c:v>42461</c:v>
                </c:pt>
                <c:pt idx="478">
                  <c:v>42468</c:v>
                </c:pt>
                <c:pt idx="479">
                  <c:v>42475</c:v>
                </c:pt>
                <c:pt idx="480">
                  <c:v>42482</c:v>
                </c:pt>
                <c:pt idx="481">
                  <c:v>42489</c:v>
                </c:pt>
                <c:pt idx="482">
                  <c:v>42496</c:v>
                </c:pt>
                <c:pt idx="483">
                  <c:v>42503</c:v>
                </c:pt>
                <c:pt idx="484">
                  <c:v>42510</c:v>
                </c:pt>
                <c:pt idx="485">
                  <c:v>42517</c:v>
                </c:pt>
                <c:pt idx="486">
                  <c:v>42524</c:v>
                </c:pt>
                <c:pt idx="487">
                  <c:v>42531</c:v>
                </c:pt>
                <c:pt idx="488">
                  <c:v>42538</c:v>
                </c:pt>
                <c:pt idx="489">
                  <c:v>42545</c:v>
                </c:pt>
                <c:pt idx="490">
                  <c:v>42552</c:v>
                </c:pt>
                <c:pt idx="491">
                  <c:v>42559</c:v>
                </c:pt>
                <c:pt idx="492">
                  <c:v>42566</c:v>
                </c:pt>
                <c:pt idx="493">
                  <c:v>42573</c:v>
                </c:pt>
                <c:pt idx="494">
                  <c:v>42580</c:v>
                </c:pt>
                <c:pt idx="495">
                  <c:v>42587</c:v>
                </c:pt>
                <c:pt idx="496">
                  <c:v>42594</c:v>
                </c:pt>
                <c:pt idx="497">
                  <c:v>42601</c:v>
                </c:pt>
                <c:pt idx="498">
                  <c:v>42608</c:v>
                </c:pt>
                <c:pt idx="499">
                  <c:v>42615</c:v>
                </c:pt>
                <c:pt idx="500">
                  <c:v>42622</c:v>
                </c:pt>
                <c:pt idx="501">
                  <c:v>42629</c:v>
                </c:pt>
                <c:pt idx="502">
                  <c:v>42636</c:v>
                </c:pt>
                <c:pt idx="503">
                  <c:v>42643</c:v>
                </c:pt>
                <c:pt idx="504">
                  <c:v>42650</c:v>
                </c:pt>
                <c:pt idx="505">
                  <c:v>42657</c:v>
                </c:pt>
                <c:pt idx="506">
                  <c:v>42664</c:v>
                </c:pt>
                <c:pt idx="507">
                  <c:v>42671</c:v>
                </c:pt>
                <c:pt idx="508">
                  <c:v>42678</c:v>
                </c:pt>
                <c:pt idx="509">
                  <c:v>42685</c:v>
                </c:pt>
                <c:pt idx="510">
                  <c:v>42692</c:v>
                </c:pt>
                <c:pt idx="511">
                  <c:v>42699</c:v>
                </c:pt>
                <c:pt idx="512">
                  <c:v>42706</c:v>
                </c:pt>
                <c:pt idx="513">
                  <c:v>42713</c:v>
                </c:pt>
                <c:pt idx="514">
                  <c:v>42720</c:v>
                </c:pt>
                <c:pt idx="515">
                  <c:v>42727</c:v>
                </c:pt>
                <c:pt idx="516">
                  <c:v>42734</c:v>
                </c:pt>
              </c:numCache>
            </c:numRef>
          </c:cat>
          <c:val>
            <c:numRef>
              <c:f>[DATA.xlsx]Sheet1!$Z$4:$Z$520</c:f>
              <c:numCache>
                <c:formatCode>General</c:formatCode>
                <c:ptCount val="517"/>
                <c:pt idx="0">
                  <c:v>100</c:v>
                </c:pt>
                <c:pt idx="1">
                  <c:v>99.621008742982411</c:v>
                </c:pt>
                <c:pt idx="2">
                  <c:v>100.70384429771109</c:v>
                </c:pt>
                <c:pt idx="3">
                  <c:v>106.38873689572388</c:v>
                </c:pt>
                <c:pt idx="4">
                  <c:v>108.28370267791141</c:v>
                </c:pt>
                <c:pt idx="5">
                  <c:v>105.84732149263445</c:v>
                </c:pt>
                <c:pt idx="6">
                  <c:v>108.55441275373103</c:v>
                </c:pt>
                <c:pt idx="7">
                  <c:v>113.6437469837805</c:v>
                </c:pt>
                <c:pt idx="8">
                  <c:v>102.86952015571825</c:v>
                </c:pt>
                <c:pt idx="9">
                  <c:v>106.93015704736312</c:v>
                </c:pt>
                <c:pt idx="10">
                  <c:v>107.85056845601994</c:v>
                </c:pt>
                <c:pt idx="11">
                  <c:v>111.47807112577337</c:v>
                </c:pt>
                <c:pt idx="12">
                  <c:v>107.47157719900235</c:v>
                </c:pt>
                <c:pt idx="13">
                  <c:v>112.3443443181061</c:v>
                </c:pt>
                <c:pt idx="14">
                  <c:v>115.32214565502233</c:v>
                </c:pt>
                <c:pt idx="15">
                  <c:v>115.0514355792027</c:v>
                </c:pt>
                <c:pt idx="16">
                  <c:v>115.0514355792027</c:v>
                </c:pt>
                <c:pt idx="17">
                  <c:v>112.07363424228649</c:v>
                </c:pt>
                <c:pt idx="18">
                  <c:v>108.82512282955065</c:v>
                </c:pt>
                <c:pt idx="19">
                  <c:v>116.89225839651634</c:v>
                </c:pt>
                <c:pt idx="20">
                  <c:v>117.54195972935355</c:v>
                </c:pt>
                <c:pt idx="21">
                  <c:v>117.27124965353393</c:v>
                </c:pt>
                <c:pt idx="22">
                  <c:v>112.3443443181061</c:v>
                </c:pt>
                <c:pt idx="23">
                  <c:v>113.15646979701516</c:v>
                </c:pt>
                <c:pt idx="24">
                  <c:v>112.72333557512368</c:v>
                </c:pt>
                <c:pt idx="25">
                  <c:v>114.78072550338308</c:v>
                </c:pt>
                <c:pt idx="26">
                  <c:v>118.78722417870387</c:v>
                </c:pt>
                <c:pt idx="27">
                  <c:v>122.19815973751153</c:v>
                </c:pt>
                <c:pt idx="28">
                  <c:v>122.08987380776379</c:v>
                </c:pt>
                <c:pt idx="29">
                  <c:v>118.84136714357778</c:v>
                </c:pt>
                <c:pt idx="30">
                  <c:v>116.67569128557061</c:v>
                </c:pt>
                <c:pt idx="31">
                  <c:v>111.47807112577337</c:v>
                </c:pt>
                <c:pt idx="32">
                  <c:v>110.44937853591857</c:v>
                </c:pt>
                <c:pt idx="33">
                  <c:v>114.6724443221851</c:v>
                </c:pt>
                <c:pt idx="34">
                  <c:v>118.19166106219075</c:v>
                </c:pt>
                <c:pt idx="35">
                  <c:v>115.59285573084193</c:v>
                </c:pt>
                <c:pt idx="36">
                  <c:v>117.48781676447967</c:v>
                </c:pt>
                <c:pt idx="37">
                  <c:v>119.11207247084756</c:v>
                </c:pt>
                <c:pt idx="38">
                  <c:v>121.00703825303512</c:v>
                </c:pt>
                <c:pt idx="39">
                  <c:v>122.63129395940302</c:v>
                </c:pt>
                <c:pt idx="40">
                  <c:v>123.98483958995132</c:v>
                </c:pt>
                <c:pt idx="41">
                  <c:v>118.29994699193853</c:v>
                </c:pt>
                <c:pt idx="42">
                  <c:v>127.23335100268716</c:v>
                </c:pt>
                <c:pt idx="43">
                  <c:v>127.99133826527212</c:v>
                </c:pt>
                <c:pt idx="44">
                  <c:v>123.87655840875335</c:v>
                </c:pt>
                <c:pt idx="45">
                  <c:v>124.25554966577093</c:v>
                </c:pt>
                <c:pt idx="46">
                  <c:v>114.51001542756345</c:v>
                </c:pt>
                <c:pt idx="47">
                  <c:v>124.25554966577093</c:v>
                </c:pt>
                <c:pt idx="48">
                  <c:v>126.42122552377811</c:v>
                </c:pt>
                <c:pt idx="49">
                  <c:v>121.81916848049397</c:v>
                </c:pt>
                <c:pt idx="50">
                  <c:v>126.85435974566957</c:v>
                </c:pt>
                <c:pt idx="51">
                  <c:v>126.96264092686754</c:v>
                </c:pt>
                <c:pt idx="52">
                  <c:v>125.71738122606699</c:v>
                </c:pt>
                <c:pt idx="53">
                  <c:v>121.87330669681806</c:v>
                </c:pt>
                <c:pt idx="54">
                  <c:v>116.94640136139023</c:v>
                </c:pt>
                <c:pt idx="55">
                  <c:v>116.29670002855302</c:v>
                </c:pt>
                <c:pt idx="56">
                  <c:v>113.69788994865439</c:v>
                </c:pt>
                <c:pt idx="57">
                  <c:v>108.01299260209178</c:v>
                </c:pt>
                <c:pt idx="58">
                  <c:v>103.6816456346273</c:v>
                </c:pt>
                <c:pt idx="59">
                  <c:v>103.46507852368154</c:v>
                </c:pt>
                <c:pt idx="60">
                  <c:v>97.996753036614493</c:v>
                </c:pt>
                <c:pt idx="61">
                  <c:v>96.480778511444541</c:v>
                </c:pt>
                <c:pt idx="62">
                  <c:v>92.095288579106153</c:v>
                </c:pt>
                <c:pt idx="63">
                  <c:v>86.302110051345579</c:v>
                </c:pt>
                <c:pt idx="64">
                  <c:v>93.178128882384641</c:v>
                </c:pt>
                <c:pt idx="65">
                  <c:v>97.726042960794885</c:v>
                </c:pt>
                <c:pt idx="66">
                  <c:v>87.168383243678321</c:v>
                </c:pt>
                <c:pt idx="67">
                  <c:v>91.553873176016722</c:v>
                </c:pt>
                <c:pt idx="68">
                  <c:v>89.44234028288345</c:v>
                </c:pt>
                <c:pt idx="69">
                  <c:v>102.0573899282594</c:v>
                </c:pt>
                <c:pt idx="70">
                  <c:v>96.155930219300842</c:v>
                </c:pt>
                <c:pt idx="71">
                  <c:v>97.299404755036306</c:v>
                </c:pt>
                <c:pt idx="72">
                  <c:v>90.317270081510287</c:v>
                </c:pt>
                <c:pt idx="73">
                  <c:v>102.76123422597048</c:v>
                </c:pt>
                <c:pt idx="74">
                  <c:v>95.159717710110627</c:v>
                </c:pt>
                <c:pt idx="75">
                  <c:v>88.684353020298474</c:v>
                </c:pt>
                <c:pt idx="76">
                  <c:v>84.010830302452703</c:v>
                </c:pt>
                <c:pt idx="77">
                  <c:v>80.294529751350268</c:v>
                </c:pt>
                <c:pt idx="78">
                  <c:v>76.296697179423134</c:v>
                </c:pt>
                <c:pt idx="79">
                  <c:v>74.044398275877526</c:v>
                </c:pt>
                <c:pt idx="80">
                  <c:v>85.024365521330694</c:v>
                </c:pt>
                <c:pt idx="81">
                  <c:v>84.911748914160995</c:v>
                </c:pt>
                <c:pt idx="82">
                  <c:v>85.868975829454115</c:v>
                </c:pt>
                <c:pt idx="83">
                  <c:v>85.024365521330694</c:v>
                </c:pt>
                <c:pt idx="84">
                  <c:v>84.461287234031943</c:v>
                </c:pt>
                <c:pt idx="85">
                  <c:v>81.251761415193201</c:v>
                </c:pt>
                <c:pt idx="86">
                  <c:v>85.305902290705163</c:v>
                </c:pt>
                <c:pt idx="87">
                  <c:v>84.348675375412043</c:v>
                </c:pt>
                <c:pt idx="88">
                  <c:v>85.305902290705163</c:v>
                </c:pt>
                <c:pt idx="89">
                  <c:v>88.965889789672943</c:v>
                </c:pt>
                <c:pt idx="90">
                  <c:v>87.389281032046</c:v>
                </c:pt>
                <c:pt idx="91">
                  <c:v>81.645914791737383</c:v>
                </c:pt>
                <c:pt idx="92">
                  <c:v>65.316729933969981</c:v>
                </c:pt>
                <c:pt idx="93">
                  <c:v>50.113696902250297</c:v>
                </c:pt>
                <c:pt idx="94">
                  <c:v>33.446671720073368</c:v>
                </c:pt>
                <c:pt idx="95">
                  <c:v>48.142934768079165</c:v>
                </c:pt>
                <c:pt idx="96">
                  <c:v>51.521385497672469</c:v>
                </c:pt>
                <c:pt idx="97">
                  <c:v>44.257714054771952</c:v>
                </c:pt>
                <c:pt idx="98">
                  <c:v>37.894965972129526</c:v>
                </c:pt>
                <c:pt idx="99">
                  <c:v>41.667570078267019</c:v>
                </c:pt>
                <c:pt idx="100">
                  <c:v>38.570656118048184</c:v>
                </c:pt>
                <c:pt idx="101">
                  <c:v>37.500812595585337</c:v>
                </c:pt>
                <c:pt idx="102">
                  <c:v>32.996210039944323</c:v>
                </c:pt>
                <c:pt idx="103">
                  <c:v>33.446671720073368</c:v>
                </c:pt>
                <c:pt idx="104">
                  <c:v>38.007577830749433</c:v>
                </c:pt>
                <c:pt idx="105">
                  <c:v>39.584191336926175</c:v>
                </c:pt>
                <c:pt idx="106">
                  <c:v>35.867895534373538</c:v>
                </c:pt>
                <c:pt idx="107">
                  <c:v>32.602056663400134</c:v>
                </c:pt>
                <c:pt idx="108">
                  <c:v>37.106659219041155</c:v>
                </c:pt>
                <c:pt idx="109">
                  <c:v>36.825122449666672</c:v>
                </c:pt>
                <c:pt idx="110">
                  <c:v>36.149432303748014</c:v>
                </c:pt>
                <c:pt idx="111">
                  <c:v>29.842987776140635</c:v>
                </c:pt>
                <c:pt idx="112">
                  <c:v>27.646997176179884</c:v>
                </c:pt>
                <c:pt idx="113">
                  <c:v>25.22577336187971</c:v>
                </c:pt>
                <c:pt idx="114">
                  <c:v>28.322687322098549</c:v>
                </c:pt>
                <c:pt idx="115">
                  <c:v>32.264211590440809</c:v>
                </c:pt>
                <c:pt idx="116">
                  <c:v>32.320519894025665</c:v>
                </c:pt>
                <c:pt idx="117">
                  <c:v>36.290198314160349</c:v>
                </c:pt>
                <c:pt idx="118">
                  <c:v>39.471574729756462</c:v>
                </c:pt>
                <c:pt idx="119">
                  <c:v>41.386033308892543</c:v>
                </c:pt>
                <c:pt idx="120">
                  <c:v>40.682189011181457</c:v>
                </c:pt>
                <c:pt idx="121">
                  <c:v>44.877095897105754</c:v>
                </c:pt>
                <c:pt idx="122">
                  <c:v>47.861397998704689</c:v>
                </c:pt>
                <c:pt idx="123">
                  <c:v>47.579861229330213</c:v>
                </c:pt>
                <c:pt idx="124">
                  <c:v>50.958311958923517</c:v>
                </c:pt>
                <c:pt idx="125">
                  <c:v>54.167837777762259</c:v>
                </c:pt>
                <c:pt idx="126">
                  <c:v>55.209527148432691</c:v>
                </c:pt>
                <c:pt idx="127">
                  <c:v>59.066593709947455</c:v>
                </c:pt>
                <c:pt idx="128">
                  <c:v>52.506766564758031</c:v>
                </c:pt>
                <c:pt idx="129">
                  <c:v>52.084463784971227</c:v>
                </c:pt>
                <c:pt idx="130">
                  <c:v>54.397225973180852</c:v>
                </c:pt>
                <c:pt idx="131">
                  <c:v>49.889503620318109</c:v>
                </c:pt>
                <c:pt idx="132">
                  <c:v>57.960760928514333</c:v>
                </c:pt>
                <c:pt idx="133">
                  <c:v>60.915147166343267</c:v>
                </c:pt>
                <c:pt idx="134">
                  <c:v>62.377111686033857</c:v>
                </c:pt>
                <c:pt idx="135">
                  <c:v>63.351751533461055</c:v>
                </c:pt>
                <c:pt idx="136">
                  <c:v>64.722344457808447</c:v>
                </c:pt>
                <c:pt idx="137">
                  <c:v>69.747843932832524</c:v>
                </c:pt>
                <c:pt idx="138">
                  <c:v>71.027060513286884</c:v>
                </c:pt>
                <c:pt idx="139">
                  <c:v>66.427966565080936</c:v>
                </c:pt>
                <c:pt idx="140">
                  <c:v>70.0524206658597</c:v>
                </c:pt>
                <c:pt idx="141">
                  <c:v>68.377251008485146</c:v>
                </c:pt>
                <c:pt idx="142">
                  <c:v>70.966146116391414</c:v>
                </c:pt>
                <c:pt idx="143">
                  <c:v>71.758042773132175</c:v>
                </c:pt>
                <c:pt idx="144">
                  <c:v>76.753085049708531</c:v>
                </c:pt>
                <c:pt idx="145">
                  <c:v>81.626298532493919</c:v>
                </c:pt>
                <c:pt idx="146">
                  <c:v>80.468910745830485</c:v>
                </c:pt>
                <c:pt idx="147">
                  <c:v>77.027204584287972</c:v>
                </c:pt>
                <c:pt idx="148">
                  <c:v>78.885117432348949</c:v>
                </c:pt>
                <c:pt idx="149">
                  <c:v>73.890075155772607</c:v>
                </c:pt>
                <c:pt idx="150">
                  <c:v>67.250325168819245</c:v>
                </c:pt>
                <c:pt idx="151">
                  <c:v>61.250181097818178</c:v>
                </c:pt>
                <c:pt idx="152">
                  <c:v>65.179207183074311</c:v>
                </c:pt>
                <c:pt idx="153">
                  <c:v>52.082450399853997</c:v>
                </c:pt>
                <c:pt idx="154">
                  <c:v>53.026637797383266</c:v>
                </c:pt>
                <c:pt idx="155">
                  <c:v>56.194224424346359</c:v>
                </c:pt>
                <c:pt idx="156">
                  <c:v>55.128208233026157</c:v>
                </c:pt>
                <c:pt idx="157">
                  <c:v>61.280638296265913</c:v>
                </c:pt>
                <c:pt idx="158">
                  <c:v>50.894605414742841</c:v>
                </c:pt>
                <c:pt idx="159">
                  <c:v>50.559571483267938</c:v>
                </c:pt>
                <c:pt idx="160">
                  <c:v>48.762577780652229</c:v>
                </c:pt>
                <c:pt idx="161">
                  <c:v>42.945176900337572</c:v>
                </c:pt>
                <c:pt idx="162">
                  <c:v>41.270011991512824</c:v>
                </c:pt>
                <c:pt idx="163">
                  <c:v>42.640604915860202</c:v>
                </c:pt>
                <c:pt idx="164">
                  <c:v>41.726874716778681</c:v>
                </c:pt>
                <c:pt idx="165">
                  <c:v>47.056950924829934</c:v>
                </c:pt>
                <c:pt idx="166">
                  <c:v>48.732115833654689</c:v>
                </c:pt>
                <c:pt idx="167">
                  <c:v>45.594986405139331</c:v>
                </c:pt>
                <c:pt idx="168">
                  <c:v>48.732115833654689</c:v>
                </c:pt>
                <c:pt idx="169">
                  <c:v>45.960477535061983</c:v>
                </c:pt>
                <c:pt idx="170">
                  <c:v>41.97053705291038</c:v>
                </c:pt>
                <c:pt idx="171">
                  <c:v>40.508572533219784</c:v>
                </c:pt>
                <c:pt idx="172">
                  <c:v>35.087124729825319</c:v>
                </c:pt>
                <c:pt idx="173">
                  <c:v>37.615105440836125</c:v>
                </c:pt>
                <c:pt idx="174">
                  <c:v>31.554046972939581</c:v>
                </c:pt>
                <c:pt idx="175">
                  <c:v>32.9550970957347</c:v>
                </c:pt>
                <c:pt idx="176">
                  <c:v>32.010909698205438</c:v>
                </c:pt>
                <c:pt idx="177">
                  <c:v>30.701235919303333</c:v>
                </c:pt>
                <c:pt idx="178">
                  <c:v>29.665676926430862</c:v>
                </c:pt>
                <c:pt idx="179">
                  <c:v>29.543848132639912</c:v>
                </c:pt>
                <c:pt idx="180">
                  <c:v>30.152996850144454</c:v>
                </c:pt>
                <c:pt idx="181">
                  <c:v>27.777306879922143</c:v>
                </c:pt>
                <c:pt idx="182">
                  <c:v>27.046324620076838</c:v>
                </c:pt>
                <c:pt idx="183">
                  <c:v>29.482933735744432</c:v>
                </c:pt>
                <c:pt idx="184">
                  <c:v>33.4424170194483</c:v>
                </c:pt>
                <c:pt idx="185">
                  <c:v>33.198754683316601</c:v>
                </c:pt>
                <c:pt idx="186">
                  <c:v>34.082022935400587</c:v>
                </c:pt>
                <c:pt idx="187">
                  <c:v>34.569347607663985</c:v>
                </c:pt>
                <c:pt idx="188">
                  <c:v>31.401760980700892</c:v>
                </c:pt>
                <c:pt idx="189">
                  <c:v>30.914436308437494</c:v>
                </c:pt>
                <c:pt idx="190">
                  <c:v>30.914436308437494</c:v>
                </c:pt>
                <c:pt idx="191">
                  <c:v>33.533788614791519</c:v>
                </c:pt>
                <c:pt idx="192">
                  <c:v>28.630117933558385</c:v>
                </c:pt>
                <c:pt idx="193">
                  <c:v>28.020969216053835</c:v>
                </c:pt>
                <c:pt idx="194">
                  <c:v>28.681221826557223</c:v>
                </c:pt>
                <c:pt idx="195">
                  <c:v>25.813097744481578</c:v>
                </c:pt>
                <c:pt idx="196">
                  <c:v>27.784933050908585</c:v>
                </c:pt>
                <c:pt idx="197">
                  <c:v>29.039737336816678</c:v>
                </c:pt>
                <c:pt idx="198">
                  <c:v>29.720916806309646</c:v>
                </c:pt>
                <c:pt idx="199">
                  <c:v>28.215151663219935</c:v>
                </c:pt>
                <c:pt idx="200">
                  <c:v>26.530128765000487</c:v>
                </c:pt>
                <c:pt idx="201">
                  <c:v>26.315019458844812</c:v>
                </c:pt>
                <c:pt idx="202">
                  <c:v>25.382879132170228</c:v>
                </c:pt>
                <c:pt idx="203">
                  <c:v>23.016681513007629</c:v>
                </c:pt>
                <c:pt idx="204">
                  <c:v>24.056371744210246</c:v>
                </c:pt>
                <c:pt idx="205">
                  <c:v>25.239472928066448</c:v>
                </c:pt>
                <c:pt idx="206">
                  <c:v>24.379035703443755</c:v>
                </c:pt>
                <c:pt idx="207">
                  <c:v>22.4430566965925</c:v>
                </c:pt>
                <c:pt idx="208">
                  <c:v>21.690174125047644</c:v>
                </c:pt>
                <c:pt idx="209">
                  <c:v>21.654322574021698</c:v>
                </c:pt>
                <c:pt idx="210">
                  <c:v>23.482746927795116</c:v>
                </c:pt>
                <c:pt idx="211">
                  <c:v>24.701699662677267</c:v>
                </c:pt>
                <c:pt idx="212">
                  <c:v>24.988512070884831</c:v>
                </c:pt>
                <c:pt idx="213">
                  <c:v>27.211308234493455</c:v>
                </c:pt>
                <c:pt idx="214">
                  <c:v>26.422574111922653</c:v>
                </c:pt>
                <c:pt idx="215">
                  <c:v>27.139605132441563</c:v>
                </c:pt>
                <c:pt idx="216">
                  <c:v>24.701699662677267</c:v>
                </c:pt>
                <c:pt idx="217">
                  <c:v>23.662004682924845</c:v>
                </c:pt>
                <c:pt idx="218">
                  <c:v>23.375192274717278</c:v>
                </c:pt>
                <c:pt idx="219">
                  <c:v>24.522441907547535</c:v>
                </c:pt>
                <c:pt idx="220">
                  <c:v>24.880957417806997</c:v>
                </c:pt>
                <c:pt idx="221">
                  <c:v>22.084541186333045</c:v>
                </c:pt>
                <c:pt idx="222">
                  <c:v>22.514759798644395</c:v>
                </c:pt>
                <c:pt idx="223">
                  <c:v>20.686330696321171</c:v>
                </c:pt>
                <c:pt idx="224">
                  <c:v>19.359823308361186</c:v>
                </c:pt>
                <c:pt idx="225">
                  <c:v>18.786198491946056</c:v>
                </c:pt>
                <c:pt idx="226">
                  <c:v>17.638948859115796</c:v>
                </c:pt>
                <c:pt idx="227">
                  <c:v>17.244581797830396</c:v>
                </c:pt>
                <c:pt idx="228">
                  <c:v>16.742660083467158</c:v>
                </c:pt>
                <c:pt idx="229">
                  <c:v>16.169040015601833</c:v>
                </c:pt>
                <c:pt idx="230">
                  <c:v>18.822050042972002</c:v>
                </c:pt>
                <c:pt idx="231">
                  <c:v>17.029472491674724</c:v>
                </c:pt>
                <c:pt idx="232">
                  <c:v>17.029472491674724</c:v>
                </c:pt>
                <c:pt idx="233">
                  <c:v>16.384149321757508</c:v>
                </c:pt>
                <c:pt idx="234">
                  <c:v>18.642792287842273</c:v>
                </c:pt>
                <c:pt idx="235">
                  <c:v>16.778511634493103</c:v>
                </c:pt>
                <c:pt idx="236">
                  <c:v>15.057641933797521</c:v>
                </c:pt>
                <c:pt idx="237">
                  <c:v>19.216417104257403</c:v>
                </c:pt>
                <c:pt idx="238">
                  <c:v>16.957769389622833</c:v>
                </c:pt>
                <c:pt idx="239">
                  <c:v>15.165196586875359</c:v>
                </c:pt>
                <c:pt idx="240">
                  <c:v>14.26890781122672</c:v>
                </c:pt>
                <c:pt idx="241">
                  <c:v>13.265064382500244</c:v>
                </c:pt>
                <c:pt idx="242">
                  <c:v>9.966726436663059</c:v>
                </c:pt>
                <c:pt idx="243">
                  <c:v>10.647901157606219</c:v>
                </c:pt>
                <c:pt idx="244">
                  <c:v>11.221525974021347</c:v>
                </c:pt>
                <c:pt idx="245">
                  <c:v>11.436635280177022</c:v>
                </c:pt>
                <c:pt idx="246">
                  <c:v>9.8950233346111673</c:v>
                </c:pt>
                <c:pt idx="247">
                  <c:v>9.8591717835852215</c:v>
                </c:pt>
                <c:pt idx="248">
                  <c:v>7.8156333751063247</c:v>
                </c:pt>
                <c:pt idx="249">
                  <c:v>6.5249775381722861</c:v>
                </c:pt>
                <c:pt idx="250">
                  <c:v>7.2420085586911958</c:v>
                </c:pt>
                <c:pt idx="251">
                  <c:v>6.847641497405796</c:v>
                </c:pt>
                <c:pt idx="252">
                  <c:v>6.5966806402241769</c:v>
                </c:pt>
                <c:pt idx="253">
                  <c:v>7.4929694158728157</c:v>
                </c:pt>
                <c:pt idx="254">
                  <c:v>6.4532744361203944</c:v>
                </c:pt>
                <c:pt idx="255">
                  <c:v>6.5249775381722861</c:v>
                </c:pt>
                <c:pt idx="256">
                  <c:v>6.9910477015095767</c:v>
                </c:pt>
                <c:pt idx="257">
                  <c:v>6.5249775381722861</c:v>
                </c:pt>
                <c:pt idx="258">
                  <c:v>5.700391864575538</c:v>
                </c:pt>
                <c:pt idx="259">
                  <c:v>5.7720949666274297</c:v>
                </c:pt>
                <c:pt idx="260">
                  <c:v>5.8079465176533747</c:v>
                </c:pt>
                <c:pt idx="261">
                  <c:v>5.162618599186354</c:v>
                </c:pt>
                <c:pt idx="262">
                  <c:v>5.413579456367974</c:v>
                </c:pt>
                <c:pt idx="263">
                  <c:v>6.7759383953539043</c:v>
                </c:pt>
                <c:pt idx="264">
                  <c:v>8.3534066404955087</c:v>
                </c:pt>
                <c:pt idx="265">
                  <c:v>9.1421407630663118</c:v>
                </c:pt>
                <c:pt idx="266">
                  <c:v>9.6082109264036024</c:v>
                </c:pt>
                <c:pt idx="267">
                  <c:v>10.540346504528381</c:v>
                </c:pt>
                <c:pt idx="268">
                  <c:v>8.6043674976771278</c:v>
                </c:pt>
                <c:pt idx="269">
                  <c:v>8.7477737017809094</c:v>
                </c:pt>
                <c:pt idx="270">
                  <c:v>8.9987345589625267</c:v>
                </c:pt>
                <c:pt idx="271">
                  <c:v>8.6760705997290195</c:v>
                </c:pt>
                <c:pt idx="272">
                  <c:v>8.3175550894695629</c:v>
                </c:pt>
                <c:pt idx="273">
                  <c:v>6.8834930484317409</c:v>
                </c:pt>
                <c:pt idx="274">
                  <c:v>5.9155011707312113</c:v>
                </c:pt>
                <c:pt idx="275">
                  <c:v>6.6683837422760686</c:v>
                </c:pt>
                <c:pt idx="276">
                  <c:v>6.3815713340685045</c:v>
                </c:pt>
                <c:pt idx="277">
                  <c:v>5.9872042727831021</c:v>
                </c:pt>
                <c:pt idx="278">
                  <c:v>6.0589073748349929</c:v>
                </c:pt>
                <c:pt idx="279">
                  <c:v>5.3060248032901374</c:v>
                </c:pt>
                <c:pt idx="280">
                  <c:v>4.5172906807193351</c:v>
                </c:pt>
                <c:pt idx="281">
                  <c:v>4.3380329255896068</c:v>
                </c:pt>
                <c:pt idx="282">
                  <c:v>3.58515035404475</c:v>
                </c:pt>
                <c:pt idx="283">
                  <c:v>3.58515035404475</c:v>
                </c:pt>
                <c:pt idx="284">
                  <c:v>4.839954639952845</c:v>
                </c:pt>
                <c:pt idx="285">
                  <c:v>5.2701732522641906</c:v>
                </c:pt>
                <c:pt idx="286">
                  <c:v>5.0192123950825724</c:v>
                </c:pt>
                <c:pt idx="287">
                  <c:v>4.9475092930306808</c:v>
                </c:pt>
                <c:pt idx="288">
                  <c:v>4.5172906807193351</c:v>
                </c:pt>
                <c:pt idx="289">
                  <c:v>4.4455875786674444</c:v>
                </c:pt>
                <c:pt idx="290">
                  <c:v>4.1946267214858253</c:v>
                </c:pt>
                <c:pt idx="291">
                  <c:v>4.5172906807193351</c:v>
                </c:pt>
                <c:pt idx="292">
                  <c:v>4.6248453337971718</c:v>
                </c:pt>
                <c:pt idx="293">
                  <c:v>4.7323999868750075</c:v>
                </c:pt>
                <c:pt idx="294">
                  <c:v>4.9833608440566275</c:v>
                </c:pt>
                <c:pt idx="295">
                  <c:v>5.0550639461085183</c:v>
                </c:pt>
                <c:pt idx="296">
                  <c:v>5.5928372114977014</c:v>
                </c:pt>
                <c:pt idx="297">
                  <c:v>7.1703054566393059</c:v>
                </c:pt>
                <c:pt idx="298">
                  <c:v>7.0986023545874151</c:v>
                </c:pt>
                <c:pt idx="299">
                  <c:v>6.7400868443279585</c:v>
                </c:pt>
                <c:pt idx="300">
                  <c:v>7.4929694158728157</c:v>
                </c:pt>
                <c:pt idx="301">
                  <c:v>7.6005240689506524</c:v>
                </c:pt>
                <c:pt idx="302">
                  <c:v>8.245851987417673</c:v>
                </c:pt>
                <c:pt idx="303">
                  <c:v>8.568515946651182</c:v>
                </c:pt>
                <c:pt idx="304">
                  <c:v>6.4174228850944495</c:v>
                </c:pt>
                <c:pt idx="305">
                  <c:v>6.309868232016612</c:v>
                </c:pt>
                <c:pt idx="306">
                  <c:v>5.3060248032901374</c:v>
                </c:pt>
                <c:pt idx="307">
                  <c:v>6.2023135789387753</c:v>
                </c:pt>
                <c:pt idx="308">
                  <c:v>4.7323999868750075</c:v>
                </c:pt>
                <c:pt idx="309">
                  <c:v>5.0192123950825724</c:v>
                </c:pt>
                <c:pt idx="310">
                  <c:v>4.9116577420047358</c:v>
                </c:pt>
                <c:pt idx="311">
                  <c:v>5.0909154971344632</c:v>
                </c:pt>
                <c:pt idx="312">
                  <c:v>4.839954639952845</c:v>
                </c:pt>
                <c:pt idx="313">
                  <c:v>5.1267670481604091</c:v>
                </c:pt>
                <c:pt idx="314">
                  <c:v>4.6965484358490617</c:v>
                </c:pt>
                <c:pt idx="315">
                  <c:v>4.302181374563661</c:v>
                </c:pt>
                <c:pt idx="316">
                  <c:v>4.2663298235377161</c:v>
                </c:pt>
                <c:pt idx="317">
                  <c:v>4.0512205173820428</c:v>
                </c:pt>
                <c:pt idx="318">
                  <c:v>4.0512205173820428</c:v>
                </c:pt>
                <c:pt idx="319">
                  <c:v>3.6210019050706963</c:v>
                </c:pt>
                <c:pt idx="320">
                  <c:v>3.6210019050706963</c:v>
                </c:pt>
                <c:pt idx="321">
                  <c:v>3.3090981596947739</c:v>
                </c:pt>
                <c:pt idx="322">
                  <c:v>2.868124082075644</c:v>
                </c:pt>
                <c:pt idx="323">
                  <c:v>2.7318881881770509</c:v>
                </c:pt>
                <c:pt idx="324">
                  <c:v>2.5096085718161887</c:v>
                </c:pt>
                <c:pt idx="325">
                  <c:v>2.3769578330201901</c:v>
                </c:pt>
                <c:pt idx="326">
                  <c:v>1.8642806533491687</c:v>
                </c:pt>
                <c:pt idx="327">
                  <c:v>2.3124250411734879</c:v>
                </c:pt>
                <c:pt idx="328">
                  <c:v>1.796162706399872</c:v>
                </c:pt>
                <c:pt idx="329">
                  <c:v>2.7569842738952128</c:v>
                </c:pt>
                <c:pt idx="330">
                  <c:v>2.4128093840461355</c:v>
                </c:pt>
                <c:pt idx="331">
                  <c:v>3.5672245785317775</c:v>
                </c:pt>
                <c:pt idx="332">
                  <c:v>6.560829089198231</c:v>
                </c:pt>
                <c:pt idx="333">
                  <c:v>3.2266395923350997</c:v>
                </c:pt>
                <c:pt idx="334">
                  <c:v>3.7750970947849951</c:v>
                </c:pt>
                <c:pt idx="335">
                  <c:v>3.0485689746565621</c:v>
                </c:pt>
                <c:pt idx="336">
                  <c:v>2.8562527075637414</c:v>
                </c:pt>
                <c:pt idx="337">
                  <c:v>2.3149180298209875</c:v>
                </c:pt>
                <c:pt idx="338">
                  <c:v>1.7807061767853751</c:v>
                </c:pt>
                <c:pt idx="339">
                  <c:v>1.5670214355711298</c:v>
                </c:pt>
                <c:pt idx="340">
                  <c:v>1.8020746509067997</c:v>
                </c:pt>
                <c:pt idx="341">
                  <c:v>1.8519344238567901</c:v>
                </c:pt>
                <c:pt idx="342">
                  <c:v>1.8448115991496488</c:v>
                </c:pt>
                <c:pt idx="343">
                  <c:v>1.8234431250282239</c:v>
                </c:pt>
                <c:pt idx="344">
                  <c:v>1.9872680932924787</c:v>
                </c:pt>
                <c:pt idx="345">
                  <c:v>2.2436897827495725</c:v>
                </c:pt>
                <c:pt idx="346">
                  <c:v>2.1724615356781576</c:v>
                </c:pt>
                <c:pt idx="347">
                  <c:v>2.1795843603852991</c:v>
                </c:pt>
                <c:pt idx="348">
                  <c:v>2.1154789380210257</c:v>
                </c:pt>
                <c:pt idx="349">
                  <c:v>2.2508126074567141</c:v>
                </c:pt>
                <c:pt idx="350">
                  <c:v>2.1297245874353088</c:v>
                </c:pt>
                <c:pt idx="351">
                  <c:v>2.1368474121424499</c:v>
                </c:pt>
                <c:pt idx="352">
                  <c:v>2.3362865039424126</c:v>
                </c:pt>
                <c:pt idx="353">
                  <c:v>2.5499712451566574</c:v>
                </c:pt>
                <c:pt idx="354">
                  <c:v>2.8989896558065902</c:v>
                </c:pt>
                <c:pt idx="355">
                  <c:v>2.9915863769994302</c:v>
                </c:pt>
                <c:pt idx="356">
                  <c:v>2.9844635522922887</c:v>
                </c:pt>
                <c:pt idx="357">
                  <c:v>3.0841830981922698</c:v>
                </c:pt>
                <c:pt idx="358">
                  <c:v>2.9702179028780051</c:v>
                </c:pt>
                <c:pt idx="359">
                  <c:v>3.0913059228994109</c:v>
                </c:pt>
                <c:pt idx="360">
                  <c:v>3.2622537158708074</c:v>
                </c:pt>
                <c:pt idx="361">
                  <c:v>3.0272005005351375</c:v>
                </c:pt>
                <c:pt idx="362">
                  <c:v>3.0272005005351375</c:v>
                </c:pt>
                <c:pt idx="363">
                  <c:v>2.9346037793422979</c:v>
                </c:pt>
                <c:pt idx="364">
                  <c:v>2.8704983569780249</c:v>
                </c:pt>
                <c:pt idx="365">
                  <c:v>2.9203581299280152</c:v>
                </c:pt>
                <c:pt idx="366">
                  <c:v>2.9773407275851471</c:v>
                </c:pt>
                <c:pt idx="367">
                  <c:v>2.9132353052208737</c:v>
                </c:pt>
                <c:pt idx="368">
                  <c:v>2.6140766675209304</c:v>
                </c:pt>
                <c:pt idx="369">
                  <c:v>2.3434093286495536</c:v>
                </c:pt>
                <c:pt idx="370">
                  <c:v>2.6639364404709212</c:v>
                </c:pt>
                <c:pt idx="371">
                  <c:v>2.635445141642355</c:v>
                </c:pt>
                <c:pt idx="372">
                  <c:v>2.4929886474995251</c:v>
                </c:pt>
                <c:pt idx="373">
                  <c:v>2.5357255957423739</c:v>
                </c:pt>
                <c:pt idx="374">
                  <c:v>2.4644973486709589</c:v>
                </c:pt>
                <c:pt idx="375">
                  <c:v>2.6069538428137888</c:v>
                </c:pt>
                <c:pt idx="376">
                  <c:v>2.8562527075637414</c:v>
                </c:pt>
                <c:pt idx="377">
                  <c:v>2.7779016357851853</c:v>
                </c:pt>
                <c:pt idx="378">
                  <c:v>2.8491298828566003</c:v>
                </c:pt>
                <c:pt idx="379">
                  <c:v>2.6425679663494965</c:v>
                </c:pt>
                <c:pt idx="380">
                  <c:v>2.236566958042431</c:v>
                </c:pt>
                <c:pt idx="381">
                  <c:v>2.0941104638996011</c:v>
                </c:pt>
                <c:pt idx="382">
                  <c:v>2.0015137427067615</c:v>
                </c:pt>
                <c:pt idx="383">
                  <c:v>1.8091974756139413</c:v>
                </c:pt>
                <c:pt idx="384">
                  <c:v>1.5100388379139982</c:v>
                </c:pt>
                <c:pt idx="385">
                  <c:v>1.6311268579354037</c:v>
                </c:pt>
                <c:pt idx="386">
                  <c:v>1.8661800732710727</c:v>
                </c:pt>
                <c:pt idx="387">
                  <c:v>2.0656191650710349</c:v>
                </c:pt>
                <c:pt idx="388">
                  <c:v>1.923162670928205</c:v>
                </c:pt>
                <c:pt idx="389">
                  <c:v>2.0228822168281861</c:v>
                </c:pt>
                <c:pt idx="390">
                  <c:v>1.8804257226853562</c:v>
                </c:pt>
                <c:pt idx="391">
                  <c:v>1.9587767944639127</c:v>
                </c:pt>
                <c:pt idx="392">
                  <c:v>1.7593377026639503</c:v>
                </c:pt>
                <c:pt idx="393">
                  <c:v>1.7664605273710923</c:v>
                </c:pt>
                <c:pt idx="394">
                  <c:v>1.8376887744425072</c:v>
                </c:pt>
                <c:pt idx="395">
                  <c:v>1.7094779297139602</c:v>
                </c:pt>
                <c:pt idx="396">
                  <c:v>1.5741442602782714</c:v>
                </c:pt>
                <c:pt idx="397">
                  <c:v>1.7094779297139602</c:v>
                </c:pt>
                <c:pt idx="398">
                  <c:v>1.8661800732710727</c:v>
                </c:pt>
                <c:pt idx="399">
                  <c:v>1.8590572485639316</c:v>
                </c:pt>
                <c:pt idx="400">
                  <c:v>1.9516539697567712</c:v>
                </c:pt>
                <c:pt idx="401">
                  <c:v>1.8163203003210826</c:v>
                </c:pt>
                <c:pt idx="402">
                  <c:v>1.7450920532496677</c:v>
                </c:pt>
                <c:pt idx="403">
                  <c:v>1.6596181567639696</c:v>
                </c:pt>
                <c:pt idx="404">
                  <c:v>1.6026355591068373</c:v>
                </c:pt>
                <c:pt idx="405">
                  <c:v>1.5598986108639885</c:v>
                </c:pt>
                <c:pt idx="406">
                  <c:v>1.4530562402568661</c:v>
                </c:pt>
                <c:pt idx="407">
                  <c:v>1.6453725073496863</c:v>
                </c:pt>
                <c:pt idx="408">
                  <c:v>1.3675823437711681</c:v>
                </c:pt>
                <c:pt idx="409">
                  <c:v>1.2963540966997531</c:v>
                </c:pt>
                <c:pt idx="410">
                  <c:v>1.2108802002140551</c:v>
                </c:pt>
                <c:pt idx="411">
                  <c:v>1.396073642599734</c:v>
                </c:pt>
                <c:pt idx="412">
                  <c:v>1.3675823437711681</c:v>
                </c:pt>
                <c:pt idx="413">
                  <c:v>1.4316877661354415</c:v>
                </c:pt>
                <c:pt idx="414">
                  <c:v>1.039932407242659</c:v>
                </c:pt>
                <c:pt idx="415">
                  <c:v>1.082669355485508</c:v>
                </c:pt>
                <c:pt idx="416">
                  <c:v>1.1040378296069324</c:v>
                </c:pt>
                <c:pt idx="417">
                  <c:v>1.0541780566569421</c:v>
                </c:pt>
                <c:pt idx="418">
                  <c:v>0.91172156251411196</c:v>
                </c:pt>
                <c:pt idx="419">
                  <c:v>0.97582698487838559</c:v>
                </c:pt>
                <c:pt idx="420">
                  <c:v>1.039932407242659</c:v>
                </c:pt>
                <c:pt idx="421">
                  <c:v>0.65886128541058875</c:v>
                </c:pt>
                <c:pt idx="422">
                  <c:v>0.7194052954212915</c:v>
                </c:pt>
                <c:pt idx="423">
                  <c:v>0.97582698487838559</c:v>
                </c:pt>
                <c:pt idx="424">
                  <c:v>1.0256867578283761</c:v>
                </c:pt>
                <c:pt idx="425">
                  <c:v>0.95445851075696109</c:v>
                </c:pt>
                <c:pt idx="426">
                  <c:v>0.90459873780697064</c:v>
                </c:pt>
                <c:pt idx="427">
                  <c:v>0.75501941895699909</c:v>
                </c:pt>
                <c:pt idx="428">
                  <c:v>0.84761614014983855</c:v>
                </c:pt>
                <c:pt idx="429">
                  <c:v>0.79063354249270645</c:v>
                </c:pt>
                <c:pt idx="430">
                  <c:v>0.7763878930784236</c:v>
                </c:pt>
                <c:pt idx="431">
                  <c:v>0.81200201661413107</c:v>
                </c:pt>
                <c:pt idx="432">
                  <c:v>0.68307888941486983</c:v>
                </c:pt>
                <c:pt idx="433">
                  <c:v>0.79063354249270645</c:v>
                </c:pt>
                <c:pt idx="434">
                  <c:v>0.89035308839268756</c:v>
                </c:pt>
                <c:pt idx="435">
                  <c:v>0.87610743897840437</c:v>
                </c:pt>
                <c:pt idx="436">
                  <c:v>0.84761614014983855</c:v>
                </c:pt>
                <c:pt idx="437">
                  <c:v>0.86898461427126306</c:v>
                </c:pt>
                <c:pt idx="438">
                  <c:v>0.82624766602841393</c:v>
                </c:pt>
                <c:pt idx="439">
                  <c:v>0.78351071778556491</c:v>
                </c:pt>
                <c:pt idx="440">
                  <c:v>0.74789659424985755</c:v>
                </c:pt>
                <c:pt idx="441">
                  <c:v>0.62680857422845204</c:v>
                </c:pt>
                <c:pt idx="442">
                  <c:v>0.85473896485698009</c:v>
                </c:pt>
                <c:pt idx="443">
                  <c:v>0.41810981030920602</c:v>
                </c:pt>
                <c:pt idx="444">
                  <c:v>0.43520458960634567</c:v>
                </c:pt>
                <c:pt idx="445">
                  <c:v>0.33406047876493639</c:v>
                </c:pt>
                <c:pt idx="446">
                  <c:v>0.3767974270077854</c:v>
                </c:pt>
                <c:pt idx="447">
                  <c:v>0.38463253418564097</c:v>
                </c:pt>
                <c:pt idx="448">
                  <c:v>0.42024665772134845</c:v>
                </c:pt>
                <c:pt idx="449">
                  <c:v>0.43449230713563153</c:v>
                </c:pt>
                <c:pt idx="450">
                  <c:v>0.370386884771358</c:v>
                </c:pt>
                <c:pt idx="451">
                  <c:v>0.25998310181066475</c:v>
                </c:pt>
                <c:pt idx="452">
                  <c:v>0.38463253418564097</c:v>
                </c:pt>
                <c:pt idx="453">
                  <c:v>0.41953437525063442</c:v>
                </c:pt>
                <c:pt idx="454">
                  <c:v>0.54133467774275401</c:v>
                </c:pt>
                <c:pt idx="455">
                  <c:v>0.48292751514419374</c:v>
                </c:pt>
                <c:pt idx="456">
                  <c:v>0.37394829712492877</c:v>
                </c:pt>
                <c:pt idx="457">
                  <c:v>0.2877621181685166</c:v>
                </c:pt>
                <c:pt idx="458">
                  <c:v>0.15955127343996958</c:v>
                </c:pt>
                <c:pt idx="459">
                  <c:v>5.7694880127846154E-2</c:v>
                </c:pt>
                <c:pt idx="460">
                  <c:v>3.0580660742660842E-2</c:v>
                </c:pt>
                <c:pt idx="461">
                  <c:v>1.7094779297139599E-2</c:v>
                </c:pt>
                <c:pt idx="462">
                  <c:v>1.4245649414282999E-2</c:v>
                </c:pt>
                <c:pt idx="463">
                  <c:v>1.5385301367425641E-2</c:v>
                </c:pt>
                <c:pt idx="464">
                  <c:v>1.6287525830330232E-2</c:v>
                </c:pt>
                <c:pt idx="465">
                  <c:v>1.3485881445521238E-2</c:v>
                </c:pt>
                <c:pt idx="466">
                  <c:v>1.277359897480709E-2</c:v>
                </c:pt>
                <c:pt idx="467">
                  <c:v>1.182388901385489E-2</c:v>
                </c:pt>
                <c:pt idx="468">
                  <c:v>1.182388901385489E-2</c:v>
                </c:pt>
                <c:pt idx="469">
                  <c:v>9.6395561036648307E-3</c:v>
                </c:pt>
                <c:pt idx="470">
                  <c:v>7.1228247071414997E-3</c:v>
                </c:pt>
                <c:pt idx="471">
                  <c:v>7.5976796876175996E-3</c:v>
                </c:pt>
                <c:pt idx="472">
                  <c:v>8.689846142712631E-3</c:v>
                </c:pt>
                <c:pt idx="473">
                  <c:v>1.054178056656942E-2</c:v>
                </c:pt>
                <c:pt idx="474">
                  <c:v>1.087417905290269E-2</c:v>
                </c:pt>
                <c:pt idx="475">
                  <c:v>1.096915004899791E-2</c:v>
                </c:pt>
                <c:pt idx="476">
                  <c:v>1.073172255875986E-2</c:v>
                </c:pt>
                <c:pt idx="477">
                  <c:v>1.206131650409294E-2</c:v>
                </c:pt>
                <c:pt idx="478">
                  <c:v>1.134903403337879E-2</c:v>
                </c:pt>
                <c:pt idx="479">
                  <c:v>1.2583656982616652E-2</c:v>
                </c:pt>
                <c:pt idx="480">
                  <c:v>1.4055707422092561E-2</c:v>
                </c:pt>
                <c:pt idx="481">
                  <c:v>1.2346229492378602E-2</c:v>
                </c:pt>
                <c:pt idx="482">
                  <c:v>1.3533366943568848E-2</c:v>
                </c:pt>
                <c:pt idx="483">
                  <c:v>1.4150678418187781E-2</c:v>
                </c:pt>
                <c:pt idx="484">
                  <c:v>1.4673018896711491E-2</c:v>
                </c:pt>
                <c:pt idx="485">
                  <c:v>1.37707944338069E-2</c:v>
                </c:pt>
                <c:pt idx="486">
                  <c:v>1.372330893575929E-2</c:v>
                </c:pt>
                <c:pt idx="487">
                  <c:v>1.18713745119025E-2</c:v>
                </c:pt>
                <c:pt idx="488">
                  <c:v>1.125406303728357E-2</c:v>
                </c:pt>
                <c:pt idx="489">
                  <c:v>9.2121866212363408E-3</c:v>
                </c:pt>
                <c:pt idx="490">
                  <c:v>9.0222446290459009E-3</c:v>
                </c:pt>
                <c:pt idx="491">
                  <c:v>8.8797881349030709E-3</c:v>
                </c:pt>
                <c:pt idx="492">
                  <c:v>9.4970996095220007E-3</c:v>
                </c:pt>
                <c:pt idx="493">
                  <c:v>9.2121866212363408E-3</c:v>
                </c:pt>
                <c:pt idx="494">
                  <c:v>9.5920706056172207E-3</c:v>
                </c:pt>
                <c:pt idx="495">
                  <c:v>8.5473896485697993E-3</c:v>
                </c:pt>
                <c:pt idx="496">
                  <c:v>8.8323026368554592E-3</c:v>
                </c:pt>
                <c:pt idx="497">
                  <c:v>8.8323026368554592E-3</c:v>
                </c:pt>
                <c:pt idx="498">
                  <c:v>9.1172156251411209E-3</c:v>
                </c:pt>
                <c:pt idx="499">
                  <c:v>9.7345270997600489E-3</c:v>
                </c:pt>
                <c:pt idx="500">
                  <c:v>9.2596721192839508E-3</c:v>
                </c:pt>
                <c:pt idx="501">
                  <c:v>8.8323026368554592E-3</c:v>
                </c:pt>
                <c:pt idx="502">
                  <c:v>9.5920706056172207E-3</c:v>
                </c:pt>
                <c:pt idx="503">
                  <c:v>8.737331640760241E-3</c:v>
                </c:pt>
                <c:pt idx="504">
                  <c:v>9.0222446290459009E-3</c:v>
                </c:pt>
                <c:pt idx="505">
                  <c:v>9.5920706056172207E-3</c:v>
                </c:pt>
                <c:pt idx="506">
                  <c:v>9.3546431153791708E-3</c:v>
                </c:pt>
                <c:pt idx="507">
                  <c:v>8.7848171388078492E-3</c:v>
                </c:pt>
                <c:pt idx="508">
                  <c:v>8.4524186524745793E-3</c:v>
                </c:pt>
                <c:pt idx="509">
                  <c:v>8.737331640760241E-3</c:v>
                </c:pt>
                <c:pt idx="510">
                  <c:v>9.9719545899980989E-3</c:v>
                </c:pt>
                <c:pt idx="511">
                  <c:v>1.0114411084140931E-2</c:v>
                </c:pt>
                <c:pt idx="512">
                  <c:v>1.0066925586093321E-2</c:v>
                </c:pt>
                <c:pt idx="513">
                  <c:v>1.177640351580728E-2</c:v>
                </c:pt>
                <c:pt idx="514">
                  <c:v>1.210880200214055E-2</c:v>
                </c:pt>
                <c:pt idx="515">
                  <c:v>1.1064121045093132E-2</c:v>
                </c:pt>
                <c:pt idx="516">
                  <c:v>1.177640351580728E-2</c:v>
                </c:pt>
              </c:numCache>
            </c:numRef>
          </c:val>
          <c:smooth val="0"/>
        </c:ser>
        <c:ser>
          <c:idx val="1"/>
          <c:order val="1"/>
          <c:tx>
            <c:strRef>
              <c:f>[DATA.xlsx]Sheet1!$AA$3</c:f>
              <c:strCache>
                <c:ptCount val="1"/>
                <c:pt idx="0">
                  <c:v>TATT GA Equity</c:v>
                </c:pt>
              </c:strCache>
            </c:strRef>
          </c:tx>
          <c:marker>
            <c:symbol val="none"/>
          </c:marker>
          <c:cat>
            <c:numRef>
              <c:f>[DATA.xlsx]Sheet1!$Y$4:$Y$520</c:f>
              <c:numCache>
                <c:formatCode>m/d/yyyy</c:formatCode>
                <c:ptCount val="517"/>
                <c:pt idx="0">
                  <c:v>39087</c:v>
                </c:pt>
                <c:pt idx="1">
                  <c:v>39094</c:v>
                </c:pt>
                <c:pt idx="2">
                  <c:v>39101</c:v>
                </c:pt>
                <c:pt idx="3">
                  <c:v>39108</c:v>
                </c:pt>
                <c:pt idx="4">
                  <c:v>39115</c:v>
                </c:pt>
                <c:pt idx="5">
                  <c:v>39122</c:v>
                </c:pt>
                <c:pt idx="6">
                  <c:v>39129</c:v>
                </c:pt>
                <c:pt idx="7">
                  <c:v>39136</c:v>
                </c:pt>
                <c:pt idx="8">
                  <c:v>39143</c:v>
                </c:pt>
                <c:pt idx="9">
                  <c:v>39150</c:v>
                </c:pt>
                <c:pt idx="10">
                  <c:v>39157</c:v>
                </c:pt>
                <c:pt idx="11">
                  <c:v>39164</c:v>
                </c:pt>
                <c:pt idx="12">
                  <c:v>39171</c:v>
                </c:pt>
                <c:pt idx="13">
                  <c:v>39178</c:v>
                </c:pt>
                <c:pt idx="14">
                  <c:v>39185</c:v>
                </c:pt>
                <c:pt idx="15">
                  <c:v>39192</c:v>
                </c:pt>
                <c:pt idx="16">
                  <c:v>39199</c:v>
                </c:pt>
                <c:pt idx="17">
                  <c:v>39206</c:v>
                </c:pt>
                <c:pt idx="18">
                  <c:v>39213</c:v>
                </c:pt>
                <c:pt idx="19">
                  <c:v>39220</c:v>
                </c:pt>
                <c:pt idx="20">
                  <c:v>39227</c:v>
                </c:pt>
                <c:pt idx="21">
                  <c:v>39234</c:v>
                </c:pt>
                <c:pt idx="22">
                  <c:v>39241</c:v>
                </c:pt>
                <c:pt idx="23">
                  <c:v>39248</c:v>
                </c:pt>
                <c:pt idx="24">
                  <c:v>39255</c:v>
                </c:pt>
                <c:pt idx="25">
                  <c:v>39262</c:v>
                </c:pt>
                <c:pt idx="26">
                  <c:v>39269</c:v>
                </c:pt>
                <c:pt idx="27">
                  <c:v>39276</c:v>
                </c:pt>
                <c:pt idx="28">
                  <c:v>39283</c:v>
                </c:pt>
                <c:pt idx="29">
                  <c:v>39290</c:v>
                </c:pt>
                <c:pt idx="30">
                  <c:v>39297</c:v>
                </c:pt>
                <c:pt idx="31">
                  <c:v>39304</c:v>
                </c:pt>
                <c:pt idx="32">
                  <c:v>39311</c:v>
                </c:pt>
                <c:pt idx="33">
                  <c:v>39318</c:v>
                </c:pt>
                <c:pt idx="34">
                  <c:v>39325</c:v>
                </c:pt>
                <c:pt idx="35">
                  <c:v>39332</c:v>
                </c:pt>
                <c:pt idx="36">
                  <c:v>39339</c:v>
                </c:pt>
                <c:pt idx="37">
                  <c:v>39346</c:v>
                </c:pt>
                <c:pt idx="38">
                  <c:v>39353</c:v>
                </c:pt>
                <c:pt idx="39">
                  <c:v>39360</c:v>
                </c:pt>
                <c:pt idx="40">
                  <c:v>39367</c:v>
                </c:pt>
                <c:pt idx="41">
                  <c:v>39374</c:v>
                </c:pt>
                <c:pt idx="42">
                  <c:v>39381</c:v>
                </c:pt>
                <c:pt idx="43">
                  <c:v>39388</c:v>
                </c:pt>
                <c:pt idx="44">
                  <c:v>39395</c:v>
                </c:pt>
                <c:pt idx="45">
                  <c:v>39402</c:v>
                </c:pt>
                <c:pt idx="46">
                  <c:v>39409</c:v>
                </c:pt>
                <c:pt idx="47">
                  <c:v>39416</c:v>
                </c:pt>
                <c:pt idx="48">
                  <c:v>39423</c:v>
                </c:pt>
                <c:pt idx="49">
                  <c:v>39430</c:v>
                </c:pt>
                <c:pt idx="50">
                  <c:v>39437</c:v>
                </c:pt>
                <c:pt idx="51">
                  <c:v>39444</c:v>
                </c:pt>
                <c:pt idx="52">
                  <c:v>39451</c:v>
                </c:pt>
                <c:pt idx="53">
                  <c:v>39458</c:v>
                </c:pt>
                <c:pt idx="54">
                  <c:v>39465</c:v>
                </c:pt>
                <c:pt idx="55">
                  <c:v>39472</c:v>
                </c:pt>
                <c:pt idx="56">
                  <c:v>39479</c:v>
                </c:pt>
                <c:pt idx="57">
                  <c:v>39486</c:v>
                </c:pt>
                <c:pt idx="58">
                  <c:v>39493</c:v>
                </c:pt>
                <c:pt idx="59">
                  <c:v>39500</c:v>
                </c:pt>
                <c:pt idx="60">
                  <c:v>39507</c:v>
                </c:pt>
                <c:pt idx="61">
                  <c:v>39514</c:v>
                </c:pt>
                <c:pt idx="62">
                  <c:v>39521</c:v>
                </c:pt>
                <c:pt idx="63">
                  <c:v>39528</c:v>
                </c:pt>
                <c:pt idx="64">
                  <c:v>39535</c:v>
                </c:pt>
                <c:pt idx="65">
                  <c:v>39542</c:v>
                </c:pt>
                <c:pt idx="66">
                  <c:v>39549</c:v>
                </c:pt>
                <c:pt idx="67">
                  <c:v>39556</c:v>
                </c:pt>
                <c:pt idx="68">
                  <c:v>39563</c:v>
                </c:pt>
                <c:pt idx="69">
                  <c:v>39570</c:v>
                </c:pt>
                <c:pt idx="70">
                  <c:v>39577</c:v>
                </c:pt>
                <c:pt idx="71">
                  <c:v>39584</c:v>
                </c:pt>
                <c:pt idx="72">
                  <c:v>39591</c:v>
                </c:pt>
                <c:pt idx="73">
                  <c:v>39598</c:v>
                </c:pt>
                <c:pt idx="74">
                  <c:v>39605</c:v>
                </c:pt>
                <c:pt idx="75">
                  <c:v>39612</c:v>
                </c:pt>
                <c:pt idx="76">
                  <c:v>39619</c:v>
                </c:pt>
                <c:pt idx="77">
                  <c:v>39626</c:v>
                </c:pt>
                <c:pt idx="78">
                  <c:v>39633</c:v>
                </c:pt>
                <c:pt idx="79">
                  <c:v>39640</c:v>
                </c:pt>
                <c:pt idx="80">
                  <c:v>39647</c:v>
                </c:pt>
                <c:pt idx="81">
                  <c:v>39654</c:v>
                </c:pt>
                <c:pt idx="82">
                  <c:v>39661</c:v>
                </c:pt>
                <c:pt idx="83">
                  <c:v>39668</c:v>
                </c:pt>
                <c:pt idx="84">
                  <c:v>39675</c:v>
                </c:pt>
                <c:pt idx="85">
                  <c:v>39682</c:v>
                </c:pt>
                <c:pt idx="86">
                  <c:v>39689</c:v>
                </c:pt>
                <c:pt idx="87">
                  <c:v>39696</c:v>
                </c:pt>
                <c:pt idx="88">
                  <c:v>39703</c:v>
                </c:pt>
                <c:pt idx="89">
                  <c:v>39710</c:v>
                </c:pt>
                <c:pt idx="90">
                  <c:v>39717</c:v>
                </c:pt>
                <c:pt idx="91">
                  <c:v>39724</c:v>
                </c:pt>
                <c:pt idx="92">
                  <c:v>39731</c:v>
                </c:pt>
                <c:pt idx="93">
                  <c:v>39738</c:v>
                </c:pt>
                <c:pt idx="94">
                  <c:v>39745</c:v>
                </c:pt>
                <c:pt idx="95">
                  <c:v>39752</c:v>
                </c:pt>
                <c:pt idx="96">
                  <c:v>39759</c:v>
                </c:pt>
                <c:pt idx="97">
                  <c:v>39766</c:v>
                </c:pt>
                <c:pt idx="98">
                  <c:v>39773</c:v>
                </c:pt>
                <c:pt idx="99">
                  <c:v>39780</c:v>
                </c:pt>
                <c:pt idx="100">
                  <c:v>39787</c:v>
                </c:pt>
                <c:pt idx="101">
                  <c:v>39794</c:v>
                </c:pt>
                <c:pt idx="102">
                  <c:v>39801</c:v>
                </c:pt>
                <c:pt idx="103">
                  <c:v>39808</c:v>
                </c:pt>
                <c:pt idx="104">
                  <c:v>39815</c:v>
                </c:pt>
                <c:pt idx="105">
                  <c:v>39822</c:v>
                </c:pt>
                <c:pt idx="106">
                  <c:v>39829</c:v>
                </c:pt>
                <c:pt idx="107">
                  <c:v>39836</c:v>
                </c:pt>
                <c:pt idx="108">
                  <c:v>39843</c:v>
                </c:pt>
                <c:pt idx="109">
                  <c:v>39850</c:v>
                </c:pt>
                <c:pt idx="110">
                  <c:v>39857</c:v>
                </c:pt>
                <c:pt idx="111">
                  <c:v>39864</c:v>
                </c:pt>
                <c:pt idx="112">
                  <c:v>39871</c:v>
                </c:pt>
                <c:pt idx="113">
                  <c:v>39878</c:v>
                </c:pt>
                <c:pt idx="114">
                  <c:v>39885</c:v>
                </c:pt>
                <c:pt idx="115">
                  <c:v>39892</c:v>
                </c:pt>
                <c:pt idx="116">
                  <c:v>39899</c:v>
                </c:pt>
                <c:pt idx="117">
                  <c:v>39906</c:v>
                </c:pt>
                <c:pt idx="118">
                  <c:v>39913</c:v>
                </c:pt>
                <c:pt idx="119">
                  <c:v>39920</c:v>
                </c:pt>
                <c:pt idx="120">
                  <c:v>39927</c:v>
                </c:pt>
                <c:pt idx="121">
                  <c:v>39934</c:v>
                </c:pt>
                <c:pt idx="122">
                  <c:v>39941</c:v>
                </c:pt>
                <c:pt idx="123">
                  <c:v>39948</c:v>
                </c:pt>
                <c:pt idx="124">
                  <c:v>39955</c:v>
                </c:pt>
                <c:pt idx="125">
                  <c:v>39962</c:v>
                </c:pt>
                <c:pt idx="126">
                  <c:v>39969</c:v>
                </c:pt>
                <c:pt idx="127">
                  <c:v>39976</c:v>
                </c:pt>
                <c:pt idx="128">
                  <c:v>39983</c:v>
                </c:pt>
                <c:pt idx="129">
                  <c:v>39990</c:v>
                </c:pt>
                <c:pt idx="130">
                  <c:v>39997</c:v>
                </c:pt>
                <c:pt idx="131">
                  <c:v>40004</c:v>
                </c:pt>
                <c:pt idx="132">
                  <c:v>40011</c:v>
                </c:pt>
                <c:pt idx="133">
                  <c:v>40018</c:v>
                </c:pt>
                <c:pt idx="134">
                  <c:v>40025</c:v>
                </c:pt>
                <c:pt idx="135">
                  <c:v>40032</c:v>
                </c:pt>
                <c:pt idx="136">
                  <c:v>40039</c:v>
                </c:pt>
                <c:pt idx="137">
                  <c:v>40046</c:v>
                </c:pt>
                <c:pt idx="138">
                  <c:v>40053</c:v>
                </c:pt>
                <c:pt idx="139">
                  <c:v>40060</c:v>
                </c:pt>
                <c:pt idx="140">
                  <c:v>40067</c:v>
                </c:pt>
                <c:pt idx="141">
                  <c:v>40074</c:v>
                </c:pt>
                <c:pt idx="142">
                  <c:v>40081</c:v>
                </c:pt>
                <c:pt idx="143">
                  <c:v>40088</c:v>
                </c:pt>
                <c:pt idx="144">
                  <c:v>40095</c:v>
                </c:pt>
                <c:pt idx="145">
                  <c:v>40102</c:v>
                </c:pt>
                <c:pt idx="146">
                  <c:v>40109</c:v>
                </c:pt>
                <c:pt idx="147">
                  <c:v>40116</c:v>
                </c:pt>
                <c:pt idx="148">
                  <c:v>40123</c:v>
                </c:pt>
                <c:pt idx="149">
                  <c:v>40130</c:v>
                </c:pt>
                <c:pt idx="150">
                  <c:v>40137</c:v>
                </c:pt>
                <c:pt idx="151">
                  <c:v>40144</c:v>
                </c:pt>
                <c:pt idx="152">
                  <c:v>40151</c:v>
                </c:pt>
                <c:pt idx="153">
                  <c:v>40158</c:v>
                </c:pt>
                <c:pt idx="154">
                  <c:v>40165</c:v>
                </c:pt>
                <c:pt idx="155">
                  <c:v>40172</c:v>
                </c:pt>
                <c:pt idx="156">
                  <c:v>40179</c:v>
                </c:pt>
                <c:pt idx="157">
                  <c:v>40186</c:v>
                </c:pt>
                <c:pt idx="158">
                  <c:v>40193</c:v>
                </c:pt>
                <c:pt idx="159">
                  <c:v>40200</c:v>
                </c:pt>
                <c:pt idx="160">
                  <c:v>40207</c:v>
                </c:pt>
                <c:pt idx="161">
                  <c:v>40214</c:v>
                </c:pt>
                <c:pt idx="162">
                  <c:v>40221</c:v>
                </c:pt>
                <c:pt idx="163">
                  <c:v>40228</c:v>
                </c:pt>
                <c:pt idx="164">
                  <c:v>40235</c:v>
                </c:pt>
                <c:pt idx="165">
                  <c:v>40242</c:v>
                </c:pt>
                <c:pt idx="166">
                  <c:v>40249</c:v>
                </c:pt>
                <c:pt idx="167">
                  <c:v>40256</c:v>
                </c:pt>
                <c:pt idx="168">
                  <c:v>40263</c:v>
                </c:pt>
                <c:pt idx="169">
                  <c:v>40270</c:v>
                </c:pt>
                <c:pt idx="170">
                  <c:v>40277</c:v>
                </c:pt>
                <c:pt idx="171">
                  <c:v>40284</c:v>
                </c:pt>
                <c:pt idx="172">
                  <c:v>40291</c:v>
                </c:pt>
                <c:pt idx="173">
                  <c:v>40298</c:v>
                </c:pt>
                <c:pt idx="174">
                  <c:v>40305</c:v>
                </c:pt>
                <c:pt idx="175">
                  <c:v>40312</c:v>
                </c:pt>
                <c:pt idx="176">
                  <c:v>40319</c:v>
                </c:pt>
                <c:pt idx="177">
                  <c:v>40326</c:v>
                </c:pt>
                <c:pt idx="178">
                  <c:v>40333</c:v>
                </c:pt>
                <c:pt idx="179">
                  <c:v>40340</c:v>
                </c:pt>
                <c:pt idx="180">
                  <c:v>40347</c:v>
                </c:pt>
                <c:pt idx="181">
                  <c:v>40354</c:v>
                </c:pt>
                <c:pt idx="182">
                  <c:v>40361</c:v>
                </c:pt>
                <c:pt idx="183">
                  <c:v>40368</c:v>
                </c:pt>
                <c:pt idx="184">
                  <c:v>40375</c:v>
                </c:pt>
                <c:pt idx="185">
                  <c:v>40382</c:v>
                </c:pt>
                <c:pt idx="186">
                  <c:v>40389</c:v>
                </c:pt>
                <c:pt idx="187">
                  <c:v>40396</c:v>
                </c:pt>
                <c:pt idx="188">
                  <c:v>40403</c:v>
                </c:pt>
                <c:pt idx="189">
                  <c:v>40410</c:v>
                </c:pt>
                <c:pt idx="190">
                  <c:v>40417</c:v>
                </c:pt>
                <c:pt idx="191">
                  <c:v>40424</c:v>
                </c:pt>
                <c:pt idx="192">
                  <c:v>40431</c:v>
                </c:pt>
                <c:pt idx="193">
                  <c:v>40438</c:v>
                </c:pt>
                <c:pt idx="194">
                  <c:v>40445</c:v>
                </c:pt>
                <c:pt idx="195">
                  <c:v>40452</c:v>
                </c:pt>
                <c:pt idx="196">
                  <c:v>40459</c:v>
                </c:pt>
                <c:pt idx="197">
                  <c:v>40466</c:v>
                </c:pt>
                <c:pt idx="198">
                  <c:v>40473</c:v>
                </c:pt>
                <c:pt idx="199">
                  <c:v>40480</c:v>
                </c:pt>
                <c:pt idx="200">
                  <c:v>40487</c:v>
                </c:pt>
                <c:pt idx="201">
                  <c:v>40494</c:v>
                </c:pt>
                <c:pt idx="202">
                  <c:v>40501</c:v>
                </c:pt>
                <c:pt idx="203">
                  <c:v>40508</c:v>
                </c:pt>
                <c:pt idx="204">
                  <c:v>40515</c:v>
                </c:pt>
                <c:pt idx="205">
                  <c:v>40522</c:v>
                </c:pt>
                <c:pt idx="206">
                  <c:v>40529</c:v>
                </c:pt>
                <c:pt idx="207">
                  <c:v>40536</c:v>
                </c:pt>
                <c:pt idx="208">
                  <c:v>40543</c:v>
                </c:pt>
                <c:pt idx="209">
                  <c:v>40550</c:v>
                </c:pt>
                <c:pt idx="210">
                  <c:v>40557</c:v>
                </c:pt>
                <c:pt idx="211">
                  <c:v>40564</c:v>
                </c:pt>
                <c:pt idx="212">
                  <c:v>40571</c:v>
                </c:pt>
                <c:pt idx="213">
                  <c:v>40578</c:v>
                </c:pt>
                <c:pt idx="214">
                  <c:v>40585</c:v>
                </c:pt>
                <c:pt idx="215">
                  <c:v>40592</c:v>
                </c:pt>
                <c:pt idx="216">
                  <c:v>40599</c:v>
                </c:pt>
                <c:pt idx="217">
                  <c:v>40606</c:v>
                </c:pt>
                <c:pt idx="218">
                  <c:v>40613</c:v>
                </c:pt>
                <c:pt idx="219">
                  <c:v>40620</c:v>
                </c:pt>
                <c:pt idx="220">
                  <c:v>40627</c:v>
                </c:pt>
                <c:pt idx="221">
                  <c:v>40634</c:v>
                </c:pt>
                <c:pt idx="222">
                  <c:v>40641</c:v>
                </c:pt>
                <c:pt idx="223">
                  <c:v>40648</c:v>
                </c:pt>
                <c:pt idx="224">
                  <c:v>40655</c:v>
                </c:pt>
                <c:pt idx="225">
                  <c:v>40662</c:v>
                </c:pt>
                <c:pt idx="226">
                  <c:v>40669</c:v>
                </c:pt>
                <c:pt idx="227">
                  <c:v>40676</c:v>
                </c:pt>
                <c:pt idx="228">
                  <c:v>40683</c:v>
                </c:pt>
                <c:pt idx="229">
                  <c:v>40690</c:v>
                </c:pt>
                <c:pt idx="230">
                  <c:v>40697</c:v>
                </c:pt>
                <c:pt idx="231">
                  <c:v>40704</c:v>
                </c:pt>
                <c:pt idx="232">
                  <c:v>40711</c:v>
                </c:pt>
                <c:pt idx="233">
                  <c:v>40718</c:v>
                </c:pt>
                <c:pt idx="234">
                  <c:v>40725</c:v>
                </c:pt>
                <c:pt idx="235">
                  <c:v>40732</c:v>
                </c:pt>
                <c:pt idx="236">
                  <c:v>40739</c:v>
                </c:pt>
                <c:pt idx="237">
                  <c:v>40746</c:v>
                </c:pt>
                <c:pt idx="238">
                  <c:v>40753</c:v>
                </c:pt>
                <c:pt idx="239">
                  <c:v>40760</c:v>
                </c:pt>
                <c:pt idx="240">
                  <c:v>40767</c:v>
                </c:pt>
                <c:pt idx="241">
                  <c:v>40774</c:v>
                </c:pt>
                <c:pt idx="242">
                  <c:v>40781</c:v>
                </c:pt>
                <c:pt idx="243">
                  <c:v>40788</c:v>
                </c:pt>
                <c:pt idx="244">
                  <c:v>40795</c:v>
                </c:pt>
                <c:pt idx="245">
                  <c:v>40802</c:v>
                </c:pt>
                <c:pt idx="246">
                  <c:v>40809</c:v>
                </c:pt>
                <c:pt idx="247">
                  <c:v>40816</c:v>
                </c:pt>
                <c:pt idx="248">
                  <c:v>40823</c:v>
                </c:pt>
                <c:pt idx="249">
                  <c:v>40830</c:v>
                </c:pt>
                <c:pt idx="250">
                  <c:v>40837</c:v>
                </c:pt>
                <c:pt idx="251">
                  <c:v>40844</c:v>
                </c:pt>
                <c:pt idx="252">
                  <c:v>40851</c:v>
                </c:pt>
                <c:pt idx="253">
                  <c:v>40858</c:v>
                </c:pt>
                <c:pt idx="254">
                  <c:v>40865</c:v>
                </c:pt>
                <c:pt idx="255">
                  <c:v>40872</c:v>
                </c:pt>
                <c:pt idx="256">
                  <c:v>40879</c:v>
                </c:pt>
                <c:pt idx="257">
                  <c:v>40886</c:v>
                </c:pt>
                <c:pt idx="258">
                  <c:v>40893</c:v>
                </c:pt>
                <c:pt idx="259">
                  <c:v>40900</c:v>
                </c:pt>
                <c:pt idx="260">
                  <c:v>40907</c:v>
                </c:pt>
                <c:pt idx="261">
                  <c:v>40914</c:v>
                </c:pt>
                <c:pt idx="262">
                  <c:v>40921</c:v>
                </c:pt>
                <c:pt idx="263">
                  <c:v>40928</c:v>
                </c:pt>
                <c:pt idx="264">
                  <c:v>40935</c:v>
                </c:pt>
                <c:pt idx="265">
                  <c:v>40942</c:v>
                </c:pt>
                <c:pt idx="266">
                  <c:v>40949</c:v>
                </c:pt>
                <c:pt idx="267">
                  <c:v>40956</c:v>
                </c:pt>
                <c:pt idx="268">
                  <c:v>40963</c:v>
                </c:pt>
                <c:pt idx="269">
                  <c:v>40970</c:v>
                </c:pt>
                <c:pt idx="270">
                  <c:v>40977</c:v>
                </c:pt>
                <c:pt idx="271">
                  <c:v>40984</c:v>
                </c:pt>
                <c:pt idx="272">
                  <c:v>40991</c:v>
                </c:pt>
                <c:pt idx="273">
                  <c:v>40998</c:v>
                </c:pt>
                <c:pt idx="274">
                  <c:v>41005</c:v>
                </c:pt>
                <c:pt idx="275">
                  <c:v>41012</c:v>
                </c:pt>
                <c:pt idx="276">
                  <c:v>41019</c:v>
                </c:pt>
                <c:pt idx="277">
                  <c:v>41026</c:v>
                </c:pt>
                <c:pt idx="278">
                  <c:v>41033</c:v>
                </c:pt>
                <c:pt idx="279">
                  <c:v>41040</c:v>
                </c:pt>
                <c:pt idx="280">
                  <c:v>41047</c:v>
                </c:pt>
                <c:pt idx="281">
                  <c:v>41054</c:v>
                </c:pt>
                <c:pt idx="282">
                  <c:v>41061</c:v>
                </c:pt>
                <c:pt idx="283">
                  <c:v>41068</c:v>
                </c:pt>
                <c:pt idx="284">
                  <c:v>41075</c:v>
                </c:pt>
                <c:pt idx="285">
                  <c:v>41082</c:v>
                </c:pt>
                <c:pt idx="286">
                  <c:v>41089</c:v>
                </c:pt>
                <c:pt idx="287">
                  <c:v>41096</c:v>
                </c:pt>
                <c:pt idx="288">
                  <c:v>41103</c:v>
                </c:pt>
                <c:pt idx="289">
                  <c:v>41110</c:v>
                </c:pt>
                <c:pt idx="290">
                  <c:v>41117</c:v>
                </c:pt>
                <c:pt idx="291">
                  <c:v>41124</c:v>
                </c:pt>
                <c:pt idx="292">
                  <c:v>41131</c:v>
                </c:pt>
                <c:pt idx="293">
                  <c:v>41138</c:v>
                </c:pt>
                <c:pt idx="294">
                  <c:v>41145</c:v>
                </c:pt>
                <c:pt idx="295">
                  <c:v>41152</c:v>
                </c:pt>
                <c:pt idx="296">
                  <c:v>41159</c:v>
                </c:pt>
                <c:pt idx="297">
                  <c:v>41166</c:v>
                </c:pt>
                <c:pt idx="298">
                  <c:v>41173</c:v>
                </c:pt>
                <c:pt idx="299">
                  <c:v>41180</c:v>
                </c:pt>
                <c:pt idx="300">
                  <c:v>41187</c:v>
                </c:pt>
                <c:pt idx="301">
                  <c:v>41194</c:v>
                </c:pt>
                <c:pt idx="302">
                  <c:v>41201</c:v>
                </c:pt>
                <c:pt idx="303">
                  <c:v>41208</c:v>
                </c:pt>
                <c:pt idx="304">
                  <c:v>41215</c:v>
                </c:pt>
                <c:pt idx="305">
                  <c:v>41222</c:v>
                </c:pt>
                <c:pt idx="306">
                  <c:v>41229</c:v>
                </c:pt>
                <c:pt idx="307">
                  <c:v>41236</c:v>
                </c:pt>
                <c:pt idx="308">
                  <c:v>41243</c:v>
                </c:pt>
                <c:pt idx="309">
                  <c:v>41250</c:v>
                </c:pt>
                <c:pt idx="310">
                  <c:v>41257</c:v>
                </c:pt>
                <c:pt idx="311">
                  <c:v>41264</c:v>
                </c:pt>
                <c:pt idx="312">
                  <c:v>41271</c:v>
                </c:pt>
                <c:pt idx="313">
                  <c:v>41278</c:v>
                </c:pt>
                <c:pt idx="314">
                  <c:v>41285</c:v>
                </c:pt>
                <c:pt idx="315">
                  <c:v>41292</c:v>
                </c:pt>
                <c:pt idx="316">
                  <c:v>41299</c:v>
                </c:pt>
                <c:pt idx="317">
                  <c:v>41306</c:v>
                </c:pt>
                <c:pt idx="318">
                  <c:v>41313</c:v>
                </c:pt>
                <c:pt idx="319">
                  <c:v>41320</c:v>
                </c:pt>
                <c:pt idx="320">
                  <c:v>41327</c:v>
                </c:pt>
                <c:pt idx="321">
                  <c:v>41334</c:v>
                </c:pt>
                <c:pt idx="322">
                  <c:v>41341</c:v>
                </c:pt>
                <c:pt idx="323">
                  <c:v>41348</c:v>
                </c:pt>
                <c:pt idx="324">
                  <c:v>41355</c:v>
                </c:pt>
                <c:pt idx="325">
                  <c:v>41362</c:v>
                </c:pt>
                <c:pt idx="326">
                  <c:v>41369</c:v>
                </c:pt>
                <c:pt idx="327">
                  <c:v>41376</c:v>
                </c:pt>
                <c:pt idx="328">
                  <c:v>41383</c:v>
                </c:pt>
                <c:pt idx="329">
                  <c:v>41390</c:v>
                </c:pt>
                <c:pt idx="330">
                  <c:v>41397</c:v>
                </c:pt>
                <c:pt idx="331">
                  <c:v>41404</c:v>
                </c:pt>
                <c:pt idx="332">
                  <c:v>41411</c:v>
                </c:pt>
                <c:pt idx="333">
                  <c:v>41418</c:v>
                </c:pt>
                <c:pt idx="334">
                  <c:v>41425</c:v>
                </c:pt>
                <c:pt idx="335">
                  <c:v>41432</c:v>
                </c:pt>
                <c:pt idx="336">
                  <c:v>41439</c:v>
                </c:pt>
                <c:pt idx="337">
                  <c:v>41446</c:v>
                </c:pt>
                <c:pt idx="338">
                  <c:v>41453</c:v>
                </c:pt>
                <c:pt idx="339">
                  <c:v>41460</c:v>
                </c:pt>
                <c:pt idx="340">
                  <c:v>41467</c:v>
                </c:pt>
                <c:pt idx="341">
                  <c:v>41474</c:v>
                </c:pt>
                <c:pt idx="342">
                  <c:v>41481</c:v>
                </c:pt>
                <c:pt idx="343">
                  <c:v>41488</c:v>
                </c:pt>
                <c:pt idx="344">
                  <c:v>41495</c:v>
                </c:pt>
                <c:pt idx="345">
                  <c:v>41502</c:v>
                </c:pt>
                <c:pt idx="346">
                  <c:v>41509</c:v>
                </c:pt>
                <c:pt idx="347">
                  <c:v>41516</c:v>
                </c:pt>
                <c:pt idx="348">
                  <c:v>41523</c:v>
                </c:pt>
                <c:pt idx="349">
                  <c:v>41530</c:v>
                </c:pt>
                <c:pt idx="350">
                  <c:v>41537</c:v>
                </c:pt>
                <c:pt idx="351">
                  <c:v>41544</c:v>
                </c:pt>
                <c:pt idx="352">
                  <c:v>41551</c:v>
                </c:pt>
                <c:pt idx="353">
                  <c:v>41558</c:v>
                </c:pt>
                <c:pt idx="354">
                  <c:v>41565</c:v>
                </c:pt>
                <c:pt idx="355">
                  <c:v>41572</c:v>
                </c:pt>
                <c:pt idx="356">
                  <c:v>41579</c:v>
                </c:pt>
                <c:pt idx="357">
                  <c:v>41586</c:v>
                </c:pt>
                <c:pt idx="358">
                  <c:v>41593</c:v>
                </c:pt>
                <c:pt idx="359">
                  <c:v>41600</c:v>
                </c:pt>
                <c:pt idx="360">
                  <c:v>41607</c:v>
                </c:pt>
                <c:pt idx="361">
                  <c:v>41614</c:v>
                </c:pt>
                <c:pt idx="362">
                  <c:v>41621</c:v>
                </c:pt>
                <c:pt idx="363">
                  <c:v>41628</c:v>
                </c:pt>
                <c:pt idx="364">
                  <c:v>41635</c:v>
                </c:pt>
                <c:pt idx="365">
                  <c:v>41642</c:v>
                </c:pt>
                <c:pt idx="366">
                  <c:v>41649</c:v>
                </c:pt>
                <c:pt idx="367">
                  <c:v>41656</c:v>
                </c:pt>
                <c:pt idx="368">
                  <c:v>41663</c:v>
                </c:pt>
                <c:pt idx="369">
                  <c:v>41670</c:v>
                </c:pt>
                <c:pt idx="370">
                  <c:v>41677</c:v>
                </c:pt>
                <c:pt idx="371">
                  <c:v>41684</c:v>
                </c:pt>
                <c:pt idx="372">
                  <c:v>41691</c:v>
                </c:pt>
                <c:pt idx="373">
                  <c:v>41698</c:v>
                </c:pt>
                <c:pt idx="374">
                  <c:v>41705</c:v>
                </c:pt>
                <c:pt idx="375">
                  <c:v>41712</c:v>
                </c:pt>
                <c:pt idx="376">
                  <c:v>41719</c:v>
                </c:pt>
                <c:pt idx="377">
                  <c:v>41726</c:v>
                </c:pt>
                <c:pt idx="378">
                  <c:v>41733</c:v>
                </c:pt>
                <c:pt idx="379">
                  <c:v>41740</c:v>
                </c:pt>
                <c:pt idx="380">
                  <c:v>41747</c:v>
                </c:pt>
                <c:pt idx="381">
                  <c:v>41754</c:v>
                </c:pt>
                <c:pt idx="382">
                  <c:v>41761</c:v>
                </c:pt>
                <c:pt idx="383">
                  <c:v>41768</c:v>
                </c:pt>
                <c:pt idx="384">
                  <c:v>41775</c:v>
                </c:pt>
                <c:pt idx="385">
                  <c:v>41782</c:v>
                </c:pt>
                <c:pt idx="386">
                  <c:v>41789</c:v>
                </c:pt>
                <c:pt idx="387">
                  <c:v>41796</c:v>
                </c:pt>
                <c:pt idx="388">
                  <c:v>41803</c:v>
                </c:pt>
                <c:pt idx="389">
                  <c:v>41810</c:v>
                </c:pt>
                <c:pt idx="390">
                  <c:v>41817</c:v>
                </c:pt>
                <c:pt idx="391">
                  <c:v>41824</c:v>
                </c:pt>
                <c:pt idx="392">
                  <c:v>41831</c:v>
                </c:pt>
                <c:pt idx="393">
                  <c:v>41838</c:v>
                </c:pt>
                <c:pt idx="394">
                  <c:v>41845</c:v>
                </c:pt>
                <c:pt idx="395">
                  <c:v>41852</c:v>
                </c:pt>
                <c:pt idx="396">
                  <c:v>41859</c:v>
                </c:pt>
                <c:pt idx="397">
                  <c:v>41866</c:v>
                </c:pt>
                <c:pt idx="398">
                  <c:v>41873</c:v>
                </c:pt>
                <c:pt idx="399">
                  <c:v>41880</c:v>
                </c:pt>
                <c:pt idx="400">
                  <c:v>41887</c:v>
                </c:pt>
                <c:pt idx="401">
                  <c:v>41894</c:v>
                </c:pt>
                <c:pt idx="402">
                  <c:v>41901</c:v>
                </c:pt>
                <c:pt idx="403">
                  <c:v>41908</c:v>
                </c:pt>
                <c:pt idx="404">
                  <c:v>41915</c:v>
                </c:pt>
                <c:pt idx="405">
                  <c:v>41922</c:v>
                </c:pt>
                <c:pt idx="406">
                  <c:v>41929</c:v>
                </c:pt>
                <c:pt idx="407">
                  <c:v>41936</c:v>
                </c:pt>
                <c:pt idx="408">
                  <c:v>41943</c:v>
                </c:pt>
                <c:pt idx="409">
                  <c:v>41950</c:v>
                </c:pt>
                <c:pt idx="410">
                  <c:v>41957</c:v>
                </c:pt>
                <c:pt idx="411">
                  <c:v>41964</c:v>
                </c:pt>
                <c:pt idx="412">
                  <c:v>41971</c:v>
                </c:pt>
                <c:pt idx="413">
                  <c:v>41978</c:v>
                </c:pt>
                <c:pt idx="414">
                  <c:v>41985</c:v>
                </c:pt>
                <c:pt idx="415">
                  <c:v>41992</c:v>
                </c:pt>
                <c:pt idx="416">
                  <c:v>41999</c:v>
                </c:pt>
                <c:pt idx="417">
                  <c:v>42006</c:v>
                </c:pt>
                <c:pt idx="418">
                  <c:v>42013</c:v>
                </c:pt>
                <c:pt idx="419">
                  <c:v>42020</c:v>
                </c:pt>
                <c:pt idx="420">
                  <c:v>42027</c:v>
                </c:pt>
                <c:pt idx="421">
                  <c:v>42034</c:v>
                </c:pt>
                <c:pt idx="422">
                  <c:v>42041</c:v>
                </c:pt>
                <c:pt idx="423">
                  <c:v>42048</c:v>
                </c:pt>
                <c:pt idx="424">
                  <c:v>42055</c:v>
                </c:pt>
                <c:pt idx="425">
                  <c:v>42062</c:v>
                </c:pt>
                <c:pt idx="426">
                  <c:v>42069</c:v>
                </c:pt>
                <c:pt idx="427">
                  <c:v>42076</c:v>
                </c:pt>
                <c:pt idx="428">
                  <c:v>42083</c:v>
                </c:pt>
                <c:pt idx="429">
                  <c:v>42090</c:v>
                </c:pt>
                <c:pt idx="430">
                  <c:v>42097</c:v>
                </c:pt>
                <c:pt idx="431">
                  <c:v>42104</c:v>
                </c:pt>
                <c:pt idx="432">
                  <c:v>42111</c:v>
                </c:pt>
                <c:pt idx="433">
                  <c:v>42118</c:v>
                </c:pt>
                <c:pt idx="434">
                  <c:v>42125</c:v>
                </c:pt>
                <c:pt idx="435">
                  <c:v>42132</c:v>
                </c:pt>
                <c:pt idx="436">
                  <c:v>42139</c:v>
                </c:pt>
                <c:pt idx="437">
                  <c:v>42146</c:v>
                </c:pt>
                <c:pt idx="438">
                  <c:v>42153</c:v>
                </c:pt>
                <c:pt idx="439">
                  <c:v>42160</c:v>
                </c:pt>
                <c:pt idx="440">
                  <c:v>42167</c:v>
                </c:pt>
                <c:pt idx="441">
                  <c:v>42174</c:v>
                </c:pt>
                <c:pt idx="442">
                  <c:v>42181</c:v>
                </c:pt>
                <c:pt idx="443">
                  <c:v>42223</c:v>
                </c:pt>
                <c:pt idx="444">
                  <c:v>42230</c:v>
                </c:pt>
                <c:pt idx="445">
                  <c:v>42237</c:v>
                </c:pt>
                <c:pt idx="446">
                  <c:v>42244</c:v>
                </c:pt>
                <c:pt idx="447">
                  <c:v>42251</c:v>
                </c:pt>
                <c:pt idx="448">
                  <c:v>42258</c:v>
                </c:pt>
                <c:pt idx="449">
                  <c:v>42265</c:v>
                </c:pt>
                <c:pt idx="450">
                  <c:v>42272</c:v>
                </c:pt>
                <c:pt idx="451">
                  <c:v>42279</c:v>
                </c:pt>
                <c:pt idx="452">
                  <c:v>42286</c:v>
                </c:pt>
                <c:pt idx="453">
                  <c:v>42293</c:v>
                </c:pt>
                <c:pt idx="454">
                  <c:v>42300</c:v>
                </c:pt>
                <c:pt idx="455">
                  <c:v>42307</c:v>
                </c:pt>
                <c:pt idx="456">
                  <c:v>42314</c:v>
                </c:pt>
                <c:pt idx="457">
                  <c:v>42321</c:v>
                </c:pt>
                <c:pt idx="458">
                  <c:v>42328</c:v>
                </c:pt>
                <c:pt idx="459">
                  <c:v>42335</c:v>
                </c:pt>
                <c:pt idx="460">
                  <c:v>42342</c:v>
                </c:pt>
                <c:pt idx="461">
                  <c:v>42349</c:v>
                </c:pt>
                <c:pt idx="462">
                  <c:v>42356</c:v>
                </c:pt>
                <c:pt idx="463">
                  <c:v>42363</c:v>
                </c:pt>
                <c:pt idx="464">
                  <c:v>42370</c:v>
                </c:pt>
                <c:pt idx="465">
                  <c:v>42377</c:v>
                </c:pt>
                <c:pt idx="466">
                  <c:v>42384</c:v>
                </c:pt>
                <c:pt idx="467">
                  <c:v>42391</c:v>
                </c:pt>
                <c:pt idx="468">
                  <c:v>42398</c:v>
                </c:pt>
                <c:pt idx="469">
                  <c:v>42405</c:v>
                </c:pt>
                <c:pt idx="470">
                  <c:v>42412</c:v>
                </c:pt>
                <c:pt idx="471">
                  <c:v>42419</c:v>
                </c:pt>
                <c:pt idx="472">
                  <c:v>42426</c:v>
                </c:pt>
                <c:pt idx="473">
                  <c:v>42433</c:v>
                </c:pt>
                <c:pt idx="474">
                  <c:v>42440</c:v>
                </c:pt>
                <c:pt idx="475">
                  <c:v>42447</c:v>
                </c:pt>
                <c:pt idx="476">
                  <c:v>42454</c:v>
                </c:pt>
                <c:pt idx="477">
                  <c:v>42461</c:v>
                </c:pt>
                <c:pt idx="478">
                  <c:v>42468</c:v>
                </c:pt>
                <c:pt idx="479">
                  <c:v>42475</c:v>
                </c:pt>
                <c:pt idx="480">
                  <c:v>42482</c:v>
                </c:pt>
                <c:pt idx="481">
                  <c:v>42489</c:v>
                </c:pt>
                <c:pt idx="482">
                  <c:v>42496</c:v>
                </c:pt>
                <c:pt idx="483">
                  <c:v>42503</c:v>
                </c:pt>
                <c:pt idx="484">
                  <c:v>42510</c:v>
                </c:pt>
                <c:pt idx="485">
                  <c:v>42517</c:v>
                </c:pt>
                <c:pt idx="486">
                  <c:v>42524</c:v>
                </c:pt>
                <c:pt idx="487">
                  <c:v>42531</c:v>
                </c:pt>
                <c:pt idx="488">
                  <c:v>42538</c:v>
                </c:pt>
                <c:pt idx="489">
                  <c:v>42545</c:v>
                </c:pt>
                <c:pt idx="490">
                  <c:v>42552</c:v>
                </c:pt>
                <c:pt idx="491">
                  <c:v>42559</c:v>
                </c:pt>
                <c:pt idx="492">
                  <c:v>42566</c:v>
                </c:pt>
                <c:pt idx="493">
                  <c:v>42573</c:v>
                </c:pt>
                <c:pt idx="494">
                  <c:v>42580</c:v>
                </c:pt>
                <c:pt idx="495">
                  <c:v>42587</c:v>
                </c:pt>
                <c:pt idx="496">
                  <c:v>42594</c:v>
                </c:pt>
                <c:pt idx="497">
                  <c:v>42601</c:v>
                </c:pt>
                <c:pt idx="498">
                  <c:v>42608</c:v>
                </c:pt>
                <c:pt idx="499">
                  <c:v>42615</c:v>
                </c:pt>
                <c:pt idx="500">
                  <c:v>42622</c:v>
                </c:pt>
                <c:pt idx="501">
                  <c:v>42629</c:v>
                </c:pt>
                <c:pt idx="502">
                  <c:v>42636</c:v>
                </c:pt>
                <c:pt idx="503">
                  <c:v>42643</c:v>
                </c:pt>
                <c:pt idx="504">
                  <c:v>42650</c:v>
                </c:pt>
                <c:pt idx="505">
                  <c:v>42657</c:v>
                </c:pt>
                <c:pt idx="506">
                  <c:v>42664</c:v>
                </c:pt>
                <c:pt idx="507">
                  <c:v>42671</c:v>
                </c:pt>
                <c:pt idx="508">
                  <c:v>42678</c:v>
                </c:pt>
                <c:pt idx="509">
                  <c:v>42685</c:v>
                </c:pt>
                <c:pt idx="510">
                  <c:v>42692</c:v>
                </c:pt>
                <c:pt idx="511">
                  <c:v>42699</c:v>
                </c:pt>
                <c:pt idx="512">
                  <c:v>42706</c:v>
                </c:pt>
                <c:pt idx="513">
                  <c:v>42713</c:v>
                </c:pt>
                <c:pt idx="514">
                  <c:v>42720</c:v>
                </c:pt>
                <c:pt idx="515">
                  <c:v>42727</c:v>
                </c:pt>
                <c:pt idx="516">
                  <c:v>42734</c:v>
                </c:pt>
              </c:numCache>
            </c:numRef>
          </c:cat>
          <c:val>
            <c:numRef>
              <c:f>[DATA.xlsx]Sheet1!$AA$4:$AA$520</c:f>
              <c:numCache>
                <c:formatCode>General</c:formatCode>
                <c:ptCount val="517"/>
                <c:pt idx="0">
                  <c:v>100</c:v>
                </c:pt>
                <c:pt idx="1">
                  <c:v>100</c:v>
                </c:pt>
                <c:pt idx="2">
                  <c:v>98.555987696396556</c:v>
                </c:pt>
                <c:pt idx="3">
                  <c:v>98.194936887707655</c:v>
                </c:pt>
                <c:pt idx="4">
                  <c:v>98.555987696396556</c:v>
                </c:pt>
                <c:pt idx="5">
                  <c:v>92.418792207717814</c:v>
                </c:pt>
                <c:pt idx="6">
                  <c:v>90.974779904114385</c:v>
                </c:pt>
                <c:pt idx="7">
                  <c:v>89.169716791822054</c:v>
                </c:pt>
                <c:pt idx="8">
                  <c:v>85.920545910350185</c:v>
                </c:pt>
                <c:pt idx="9">
                  <c:v>91.696786055916107</c:v>
                </c:pt>
                <c:pt idx="10">
                  <c:v>81.949464342652689</c:v>
                </c:pt>
                <c:pt idx="11">
                  <c:v>85.198539758548478</c:v>
                </c:pt>
                <c:pt idx="12">
                  <c:v>83.393476646256133</c:v>
                </c:pt>
                <c:pt idx="13">
                  <c:v>83.75452745494502</c:v>
                </c:pt>
                <c:pt idx="14">
                  <c:v>83.393476646256133</c:v>
                </c:pt>
                <c:pt idx="15">
                  <c:v>82.31051515134159</c:v>
                </c:pt>
                <c:pt idx="16">
                  <c:v>82.671470494454411</c:v>
                </c:pt>
                <c:pt idx="17">
                  <c:v>81.588508999539869</c:v>
                </c:pt>
                <c:pt idx="18">
                  <c:v>80.505452039049246</c:v>
                </c:pt>
                <c:pt idx="19">
                  <c:v>85.198539758548478</c:v>
                </c:pt>
                <c:pt idx="20">
                  <c:v>90.563609667989837</c:v>
                </c:pt>
                <c:pt idx="21">
                  <c:v>88.870909538729435</c:v>
                </c:pt>
                <c:pt idx="22">
                  <c:v>88.447710640020318</c:v>
                </c:pt>
                <c:pt idx="23">
                  <c:v>88.447710640020318</c:v>
                </c:pt>
                <c:pt idx="24">
                  <c:v>85.90851724776563</c:v>
                </c:pt>
                <c:pt idx="25">
                  <c:v>80.830130463256253</c:v>
                </c:pt>
                <c:pt idx="26">
                  <c:v>88.447710640020318</c:v>
                </c:pt>
                <c:pt idx="27">
                  <c:v>87.601312842602098</c:v>
                </c:pt>
                <c:pt idx="28">
                  <c:v>85.485318349056513</c:v>
                </c:pt>
                <c:pt idx="29">
                  <c:v>82.522926058092722</c:v>
                </c:pt>
                <c:pt idx="30">
                  <c:v>83.369323855510942</c:v>
                </c:pt>
                <c:pt idx="31">
                  <c:v>77.021435840450295</c:v>
                </c:pt>
                <c:pt idx="32">
                  <c:v>78.714231435286749</c:v>
                </c:pt>
                <c:pt idx="33">
                  <c:v>81.25332936196537</c:v>
                </c:pt>
                <c:pt idx="34">
                  <c:v>78.714231435286749</c:v>
                </c:pt>
                <c:pt idx="35">
                  <c:v>78.714231435286749</c:v>
                </c:pt>
                <c:pt idx="36">
                  <c:v>78.714231435286749</c:v>
                </c:pt>
                <c:pt idx="37">
                  <c:v>92.256405262826291</c:v>
                </c:pt>
                <c:pt idx="38">
                  <c:v>92.256405262826291</c:v>
                </c:pt>
                <c:pt idx="39">
                  <c:v>89.717211870571603</c:v>
                </c:pt>
                <c:pt idx="40">
                  <c:v>88.024511741311201</c:v>
                </c:pt>
                <c:pt idx="41">
                  <c:v>93.102803060244526</c:v>
                </c:pt>
                <c:pt idx="42">
                  <c:v>90.563609667989837</c:v>
                </c:pt>
                <c:pt idx="43">
                  <c:v>88.447710640020318</c:v>
                </c:pt>
                <c:pt idx="44">
                  <c:v>84.215721652929176</c:v>
                </c:pt>
                <c:pt idx="45">
                  <c:v>82.522926058092722</c:v>
                </c:pt>
                <c:pt idx="46">
                  <c:v>81.676528260674488</c:v>
                </c:pt>
                <c:pt idx="47">
                  <c:v>81.676528260674488</c:v>
                </c:pt>
                <c:pt idx="48">
                  <c:v>81.676528260674488</c:v>
                </c:pt>
                <c:pt idx="49">
                  <c:v>83.369323855510942</c:v>
                </c:pt>
                <c:pt idx="50">
                  <c:v>85.90851724776563</c:v>
                </c:pt>
                <c:pt idx="51">
                  <c:v>85.06211945034741</c:v>
                </c:pt>
                <c:pt idx="52">
                  <c:v>87.601312842602098</c:v>
                </c:pt>
                <c:pt idx="53">
                  <c:v>85.90851724776563</c:v>
                </c:pt>
                <c:pt idx="54">
                  <c:v>81.676528260674488</c:v>
                </c:pt>
                <c:pt idx="55">
                  <c:v>77.021435840450295</c:v>
                </c:pt>
                <c:pt idx="56">
                  <c:v>75.328640245613826</c:v>
                </c:pt>
                <c:pt idx="57">
                  <c:v>73.212645752068269</c:v>
                </c:pt>
                <c:pt idx="58">
                  <c:v>72.789446853359138</c:v>
                </c:pt>
                <c:pt idx="59">
                  <c:v>73.212645752068269</c:v>
                </c:pt>
                <c:pt idx="60">
                  <c:v>71.943049055940932</c:v>
                </c:pt>
                <c:pt idx="61">
                  <c:v>63.4791665473347</c:v>
                </c:pt>
                <c:pt idx="62">
                  <c:v>63.05596764862559</c:v>
                </c:pt>
                <c:pt idx="63">
                  <c:v>58.612426944967922</c:v>
                </c:pt>
                <c:pt idx="64">
                  <c:v>63.902365446043817</c:v>
                </c:pt>
                <c:pt idx="65">
                  <c:v>71.096651258522698</c:v>
                </c:pt>
                <c:pt idx="66">
                  <c:v>66.864757737007622</c:v>
                </c:pt>
                <c:pt idx="67">
                  <c:v>73.635844650777372</c:v>
                </c:pt>
                <c:pt idx="68">
                  <c:v>79.983732665838019</c:v>
                </c:pt>
                <c:pt idx="69">
                  <c:v>79.560629232704997</c:v>
                </c:pt>
                <c:pt idx="70">
                  <c:v>75.328640245613826</c:v>
                </c:pt>
                <c:pt idx="71">
                  <c:v>76.598236941741192</c:v>
                </c:pt>
                <c:pt idx="72">
                  <c:v>72.789446853359138</c:v>
                </c:pt>
                <c:pt idx="73">
                  <c:v>79.560629232704997</c:v>
                </c:pt>
                <c:pt idx="74">
                  <c:v>76.598236941741192</c:v>
                </c:pt>
                <c:pt idx="75">
                  <c:v>72.789446853359138</c:v>
                </c:pt>
                <c:pt idx="76">
                  <c:v>76.17503804303206</c:v>
                </c:pt>
                <c:pt idx="77">
                  <c:v>80.830130463256253</c:v>
                </c:pt>
                <c:pt idx="78">
                  <c:v>71.943049055940932</c:v>
                </c:pt>
                <c:pt idx="79">
                  <c:v>67.711155534425842</c:v>
                </c:pt>
                <c:pt idx="80">
                  <c:v>64.748763243462051</c:v>
                </c:pt>
                <c:pt idx="81">
                  <c:v>66.441558838298505</c:v>
                </c:pt>
                <c:pt idx="82">
                  <c:v>67.711155534425842</c:v>
                </c:pt>
                <c:pt idx="83">
                  <c:v>70.250348926680545</c:v>
                </c:pt>
                <c:pt idx="84">
                  <c:v>71.943049055940932</c:v>
                </c:pt>
                <c:pt idx="85">
                  <c:v>72.366247954650035</c:v>
                </c:pt>
                <c:pt idx="86">
                  <c:v>73.635844650777372</c:v>
                </c:pt>
                <c:pt idx="87">
                  <c:v>69.40395112926231</c:v>
                </c:pt>
                <c:pt idx="88">
                  <c:v>72.366247954650035</c:v>
                </c:pt>
                <c:pt idx="89">
                  <c:v>66.864757737007622</c:v>
                </c:pt>
                <c:pt idx="90">
                  <c:v>67.287956635716725</c:v>
                </c:pt>
                <c:pt idx="91">
                  <c:v>61.363172053789128</c:v>
                </c:pt>
                <c:pt idx="92">
                  <c:v>44.223855320010159</c:v>
                </c:pt>
                <c:pt idx="93">
                  <c:v>45.493452016137503</c:v>
                </c:pt>
                <c:pt idx="94">
                  <c:v>31.951182723021908</c:v>
                </c:pt>
                <c:pt idx="95">
                  <c:v>39.780314616352499</c:v>
                </c:pt>
                <c:pt idx="96">
                  <c:v>39.357115717643374</c:v>
                </c:pt>
                <c:pt idx="97">
                  <c:v>38.08751902151603</c:v>
                </c:pt>
                <c:pt idx="98">
                  <c:v>37.664320122806913</c:v>
                </c:pt>
                <c:pt idx="99">
                  <c:v>40.415065231628127</c:v>
                </c:pt>
                <c:pt idx="100">
                  <c:v>41.473110211188946</c:v>
                </c:pt>
                <c:pt idx="101">
                  <c:v>38.933916818934264</c:v>
                </c:pt>
                <c:pt idx="102">
                  <c:v>47.397799327540483</c:v>
                </c:pt>
                <c:pt idx="103">
                  <c:v>56.0733290182893</c:v>
                </c:pt>
                <c:pt idx="104">
                  <c:v>60.516869721946961</c:v>
                </c:pt>
                <c:pt idx="105">
                  <c:v>54.168886241310247</c:v>
                </c:pt>
                <c:pt idx="106">
                  <c:v>47.609351044107008</c:v>
                </c:pt>
                <c:pt idx="107">
                  <c:v>46.974600428831373</c:v>
                </c:pt>
                <c:pt idx="108">
                  <c:v>47.186152145397891</c:v>
                </c:pt>
                <c:pt idx="109">
                  <c:v>44.012208137867567</c:v>
                </c:pt>
                <c:pt idx="110">
                  <c:v>48.244197124958717</c:v>
                </c:pt>
                <c:pt idx="111">
                  <c:v>47.397799327540483</c:v>
                </c:pt>
                <c:pt idx="112">
                  <c:v>44.858605935285802</c:v>
                </c:pt>
                <c:pt idx="113">
                  <c:v>40.626712413770719</c:v>
                </c:pt>
                <c:pt idx="114">
                  <c:v>41.896309109898063</c:v>
                </c:pt>
                <c:pt idx="115">
                  <c:v>46.128202631413146</c:v>
                </c:pt>
                <c:pt idx="116">
                  <c:v>50.571743335070806</c:v>
                </c:pt>
                <c:pt idx="117">
                  <c:v>50.360191618504288</c:v>
                </c:pt>
                <c:pt idx="118">
                  <c:v>49.090594922376944</c:v>
                </c:pt>
                <c:pt idx="119">
                  <c:v>49.725345537652579</c:v>
                </c:pt>
                <c:pt idx="120">
                  <c:v>47.8209982262496</c:v>
                </c:pt>
                <c:pt idx="121">
                  <c:v>50.571743335070806</c:v>
                </c:pt>
                <c:pt idx="122">
                  <c:v>55.015284038728474</c:v>
                </c:pt>
                <c:pt idx="123">
                  <c:v>50.783390517213398</c:v>
                </c:pt>
                <c:pt idx="124">
                  <c:v>55.65013011958019</c:v>
                </c:pt>
                <c:pt idx="125">
                  <c:v>55.015284038728474</c:v>
                </c:pt>
                <c:pt idx="126">
                  <c:v>53.957334524743729</c:v>
                </c:pt>
                <c:pt idx="127">
                  <c:v>52.687737828616385</c:v>
                </c:pt>
                <c:pt idx="128">
                  <c:v>50.994942233779931</c:v>
                </c:pt>
                <c:pt idx="129">
                  <c:v>47.8209982262496</c:v>
                </c:pt>
                <c:pt idx="130">
                  <c:v>46.763048712264847</c:v>
                </c:pt>
                <c:pt idx="131">
                  <c:v>39.14546853550079</c:v>
                </c:pt>
                <c:pt idx="132">
                  <c:v>41.684661927755471</c:v>
                </c:pt>
                <c:pt idx="133">
                  <c:v>49.302146638943469</c:v>
                </c:pt>
                <c:pt idx="134">
                  <c:v>47.397799327540483</c:v>
                </c:pt>
                <c:pt idx="135">
                  <c:v>54.380533423452846</c:v>
                </c:pt>
                <c:pt idx="136">
                  <c:v>56.496432451422351</c:v>
                </c:pt>
                <c:pt idx="137">
                  <c:v>64.114012628186416</c:v>
                </c:pt>
                <c:pt idx="138">
                  <c:v>59.035625843677032</c:v>
                </c:pt>
                <c:pt idx="139">
                  <c:v>59.458824742386149</c:v>
                </c:pt>
                <c:pt idx="140">
                  <c:v>56.731373234125513</c:v>
                </c:pt>
                <c:pt idx="141">
                  <c:v>57.549608686603705</c:v>
                </c:pt>
                <c:pt idx="142">
                  <c:v>60.549805345690402</c:v>
                </c:pt>
                <c:pt idx="143">
                  <c:v>61.640785948994662</c:v>
                </c:pt>
                <c:pt idx="144">
                  <c:v>62.731766552298907</c:v>
                </c:pt>
                <c:pt idx="145">
                  <c:v>60.277060194864326</c:v>
                </c:pt>
                <c:pt idx="146">
                  <c:v>59.458824742386149</c:v>
                </c:pt>
                <c:pt idx="147">
                  <c:v>56.185882932473383</c:v>
                </c:pt>
                <c:pt idx="148">
                  <c:v>55.640392630821253</c:v>
                </c:pt>
                <c:pt idx="149">
                  <c:v>54.549412027516993</c:v>
                </c:pt>
                <c:pt idx="150">
                  <c:v>49.367158696245724</c:v>
                </c:pt>
                <c:pt idx="151">
                  <c:v>43.639510528898384</c:v>
                </c:pt>
                <c:pt idx="152">
                  <c:v>46.912452338811157</c:v>
                </c:pt>
                <c:pt idx="153">
                  <c:v>43.639510528898384</c:v>
                </c:pt>
                <c:pt idx="154">
                  <c:v>44.730491132202644</c:v>
                </c:pt>
                <c:pt idx="155">
                  <c:v>45.821471735506897</c:v>
                </c:pt>
                <c:pt idx="156">
                  <c:v>46.36696203715902</c:v>
                </c:pt>
                <c:pt idx="157">
                  <c:v>48.003432942115403</c:v>
                </c:pt>
                <c:pt idx="158">
                  <c:v>43.366765378072323</c:v>
                </c:pt>
                <c:pt idx="159">
                  <c:v>38.730097814029243</c:v>
                </c:pt>
                <c:pt idx="160">
                  <c:v>40.639313869811687</c:v>
                </c:pt>
                <c:pt idx="161">
                  <c:v>37.366372059898922</c:v>
                </c:pt>
                <c:pt idx="162">
                  <c:v>37.63911721072499</c:v>
                </c:pt>
                <c:pt idx="163">
                  <c:v>36.275391456594662</c:v>
                </c:pt>
                <c:pt idx="164">
                  <c:v>36.54813660742073</c:v>
                </c:pt>
                <c:pt idx="165">
                  <c:v>38.457352663203174</c:v>
                </c:pt>
                <c:pt idx="166">
                  <c:v>37.366372059898922</c:v>
                </c:pt>
                <c:pt idx="167">
                  <c:v>34.366079935236158</c:v>
                </c:pt>
                <c:pt idx="168">
                  <c:v>37.366372059898922</c:v>
                </c:pt>
                <c:pt idx="169">
                  <c:v>36.275391456594662</c:v>
                </c:pt>
                <c:pt idx="170">
                  <c:v>35.457060538540411</c:v>
                </c:pt>
                <c:pt idx="171">
                  <c:v>35.184315387714342</c:v>
                </c:pt>
                <c:pt idx="172">
                  <c:v>33.547844482757966</c:v>
                </c:pt>
                <c:pt idx="173">
                  <c:v>32.729609030279775</c:v>
                </c:pt>
                <c:pt idx="174">
                  <c:v>28.638431767888818</c:v>
                </c:pt>
                <c:pt idx="175">
                  <c:v>29.183922069540948</c:v>
                </c:pt>
                <c:pt idx="176">
                  <c:v>27.820196315410627</c:v>
                </c:pt>
                <c:pt idx="177">
                  <c:v>30.274902672845201</c:v>
                </c:pt>
                <c:pt idx="178">
                  <c:v>27.820196315410627</c:v>
                </c:pt>
                <c:pt idx="179">
                  <c:v>27.274706013758497</c:v>
                </c:pt>
                <c:pt idx="180">
                  <c:v>27.820196315410627</c:v>
                </c:pt>
                <c:pt idx="181">
                  <c:v>28.638431767888818</c:v>
                </c:pt>
                <c:pt idx="182">
                  <c:v>26.729215712106374</c:v>
                </c:pt>
                <c:pt idx="183">
                  <c:v>27.547451164584562</c:v>
                </c:pt>
                <c:pt idx="184">
                  <c:v>32.184118728627645</c:v>
                </c:pt>
                <c:pt idx="185">
                  <c:v>35.184315387714342</c:v>
                </c:pt>
                <c:pt idx="186">
                  <c:v>39.002842964855304</c:v>
                </c:pt>
                <c:pt idx="187">
                  <c:v>39.002842964855304</c:v>
                </c:pt>
                <c:pt idx="188">
                  <c:v>33.820589633584028</c:v>
                </c:pt>
                <c:pt idx="189">
                  <c:v>35.457060538540411</c:v>
                </c:pt>
                <c:pt idx="190">
                  <c:v>35.729901154942539</c:v>
                </c:pt>
                <c:pt idx="191">
                  <c:v>37.911862361551051</c:v>
                </c:pt>
                <c:pt idx="192">
                  <c:v>36.820881758246799</c:v>
                </c:pt>
                <c:pt idx="193">
                  <c:v>28.638431767888818</c:v>
                </c:pt>
                <c:pt idx="194">
                  <c:v>28.638431767888818</c:v>
                </c:pt>
                <c:pt idx="195">
                  <c:v>27.820196315410627</c:v>
                </c:pt>
                <c:pt idx="196">
                  <c:v>29.729412371193074</c:v>
                </c:pt>
                <c:pt idx="197">
                  <c:v>28.911176918714883</c:v>
                </c:pt>
                <c:pt idx="198">
                  <c:v>28.638431767888818</c:v>
                </c:pt>
                <c:pt idx="199">
                  <c:v>28.092941466236692</c:v>
                </c:pt>
                <c:pt idx="200">
                  <c:v>26.456470561280309</c:v>
                </c:pt>
                <c:pt idx="201">
                  <c:v>25.092744807149991</c:v>
                </c:pt>
                <c:pt idx="202">
                  <c:v>27.001960862932439</c:v>
                </c:pt>
                <c:pt idx="203">
                  <c:v>24.547254505497865</c:v>
                </c:pt>
                <c:pt idx="204">
                  <c:v>27.274706013758497</c:v>
                </c:pt>
                <c:pt idx="205">
                  <c:v>30.547647823671266</c:v>
                </c:pt>
                <c:pt idx="206">
                  <c:v>30.547647823671266</c:v>
                </c:pt>
                <c:pt idx="207">
                  <c:v>26.456470561280309</c:v>
                </c:pt>
                <c:pt idx="208">
                  <c:v>25.638235108802121</c:v>
                </c:pt>
                <c:pt idx="209">
                  <c:v>24.001764203845738</c:v>
                </c:pt>
                <c:pt idx="210">
                  <c:v>25.910980259628179</c:v>
                </c:pt>
                <c:pt idx="211">
                  <c:v>27.274706013758497</c:v>
                </c:pt>
                <c:pt idx="212">
                  <c:v>26.456470561280309</c:v>
                </c:pt>
                <c:pt idx="213">
                  <c:v>29.729412371193074</c:v>
                </c:pt>
                <c:pt idx="214">
                  <c:v>30.274902672845201</c:v>
                </c:pt>
                <c:pt idx="215">
                  <c:v>34.366079935236158</c:v>
                </c:pt>
                <c:pt idx="216">
                  <c:v>29.456667220367009</c:v>
                </c:pt>
                <c:pt idx="217">
                  <c:v>28.638431767888818</c:v>
                </c:pt>
                <c:pt idx="218">
                  <c:v>28.911176918714883</c:v>
                </c:pt>
                <c:pt idx="219">
                  <c:v>28.911176918714883</c:v>
                </c:pt>
                <c:pt idx="220">
                  <c:v>29.729412371193074</c:v>
                </c:pt>
                <c:pt idx="221">
                  <c:v>27.001960862932439</c:v>
                </c:pt>
                <c:pt idx="222">
                  <c:v>26.729215712106374</c:v>
                </c:pt>
                <c:pt idx="223">
                  <c:v>24.547254505497865</c:v>
                </c:pt>
                <c:pt idx="224">
                  <c:v>23.729019053019673</c:v>
                </c:pt>
                <c:pt idx="225">
                  <c:v>23.729019053019673</c:v>
                </c:pt>
                <c:pt idx="226">
                  <c:v>23.729019053019673</c:v>
                </c:pt>
                <c:pt idx="227">
                  <c:v>22.910783600541482</c:v>
                </c:pt>
                <c:pt idx="228">
                  <c:v>22.365293298889352</c:v>
                </c:pt>
                <c:pt idx="229">
                  <c:v>21.819802997237229</c:v>
                </c:pt>
                <c:pt idx="230">
                  <c:v>22.63803844971542</c:v>
                </c:pt>
                <c:pt idx="231">
                  <c:v>20.728726928356906</c:v>
                </c:pt>
                <c:pt idx="232">
                  <c:v>19.910491475878718</c:v>
                </c:pt>
                <c:pt idx="233">
                  <c:v>19.365001174226588</c:v>
                </c:pt>
                <c:pt idx="234">
                  <c:v>21.819802997237229</c:v>
                </c:pt>
                <c:pt idx="235">
                  <c:v>19.63774632505265</c:v>
                </c:pt>
                <c:pt idx="236">
                  <c:v>16.637549665965949</c:v>
                </c:pt>
                <c:pt idx="237">
                  <c:v>19.910491475878718</c:v>
                </c:pt>
                <c:pt idx="238">
                  <c:v>19.63774632505265</c:v>
                </c:pt>
                <c:pt idx="239">
                  <c:v>17.728530269270205</c:v>
                </c:pt>
                <c:pt idx="240">
                  <c:v>16.910294816792014</c:v>
                </c:pt>
                <c:pt idx="241">
                  <c:v>16.637549665965949</c:v>
                </c:pt>
                <c:pt idx="242">
                  <c:v>12.273627252748932</c:v>
                </c:pt>
                <c:pt idx="243">
                  <c:v>12.81911755440106</c:v>
                </c:pt>
                <c:pt idx="244">
                  <c:v>12.546372403574996</c:v>
                </c:pt>
                <c:pt idx="245">
                  <c:v>12.000882101922869</c:v>
                </c:pt>
                <c:pt idx="246">
                  <c:v>11.182646649444676</c:v>
                </c:pt>
                <c:pt idx="247">
                  <c:v>10.364411196966486</c:v>
                </c:pt>
                <c:pt idx="248">
                  <c:v>8.7279402920101035</c:v>
                </c:pt>
                <c:pt idx="249">
                  <c:v>6.1368136263744661</c:v>
                </c:pt>
                <c:pt idx="250">
                  <c:v>6.9005382349178719</c:v>
                </c:pt>
                <c:pt idx="251">
                  <c:v>6.5731867745809538</c:v>
                </c:pt>
                <c:pt idx="252">
                  <c:v>6.6550007732711665</c:v>
                </c:pt>
                <c:pt idx="253">
                  <c:v>8.2642639890481906</c:v>
                </c:pt>
                <c:pt idx="254">
                  <c:v>6.5458836198255277</c:v>
                </c:pt>
                <c:pt idx="255">
                  <c:v>6.0003933181734004</c:v>
                </c:pt>
                <c:pt idx="256">
                  <c:v>5.8095576316136164</c:v>
                </c:pt>
                <c:pt idx="257">
                  <c:v>5.864068475548402</c:v>
                </c:pt>
                <c:pt idx="258">
                  <c:v>5.1003438670049972</c:v>
                </c:pt>
                <c:pt idx="259">
                  <c:v>5.4003921725864874</c:v>
                </c:pt>
                <c:pt idx="260">
                  <c:v>5.7004404781679767</c:v>
                </c:pt>
                <c:pt idx="261">
                  <c:v>5.1821578656952099</c:v>
                </c:pt>
                <c:pt idx="262">
                  <c:v>5.4276953273419144</c:v>
                </c:pt>
                <c:pt idx="263">
                  <c:v>6.4368619319559564</c:v>
                </c:pt>
                <c:pt idx="264">
                  <c:v>8.0460296821569113</c:v>
                </c:pt>
                <c:pt idx="265">
                  <c:v>9.6825005871132941</c:v>
                </c:pt>
                <c:pt idx="266">
                  <c:v>8.9733822880807406</c:v>
                </c:pt>
                <c:pt idx="267">
                  <c:v>10.664364036971909</c:v>
                </c:pt>
                <c:pt idx="268">
                  <c:v>9.1916165949720199</c:v>
                </c:pt>
                <c:pt idx="269">
                  <c:v>8.3187748329829745</c:v>
                </c:pt>
                <c:pt idx="270">
                  <c:v>8.400588831673188</c:v>
                </c:pt>
                <c:pt idx="271">
                  <c:v>7.2277942296787208</c:v>
                </c:pt>
                <c:pt idx="272">
                  <c:v>7.091373921477655</c:v>
                </c:pt>
                <c:pt idx="273">
                  <c:v>6.1095104716190392</c:v>
                </c:pt>
                <c:pt idx="274">
                  <c:v>5.8367653207929759</c:v>
                </c:pt>
                <c:pt idx="275">
                  <c:v>6.3550479332657446</c:v>
                </c:pt>
                <c:pt idx="276">
                  <c:v>6.1095104716190392</c:v>
                </c:pt>
                <c:pt idx="277">
                  <c:v>7.2550973844341478</c:v>
                </c:pt>
                <c:pt idx="278">
                  <c:v>7.4460285365699983</c:v>
                </c:pt>
                <c:pt idx="279">
                  <c:v>6.0003933181734004</c:v>
                </c:pt>
                <c:pt idx="280">
                  <c:v>6.3822556224451032</c:v>
                </c:pt>
                <c:pt idx="281">
                  <c:v>5.864068475548402</c:v>
                </c:pt>
                <c:pt idx="282">
                  <c:v>5.5095093260321271</c:v>
                </c:pt>
                <c:pt idx="283">
                  <c:v>5.2639718643854216</c:v>
                </c:pt>
                <c:pt idx="284">
                  <c:v>7.118677076233082</c:v>
                </c:pt>
                <c:pt idx="285">
                  <c:v>7.5823533791949966</c:v>
                </c:pt>
                <c:pt idx="286">
                  <c:v>7.2550973844341478</c:v>
                </c:pt>
                <c:pt idx="287">
                  <c:v>7.2550973844341478</c:v>
                </c:pt>
                <c:pt idx="288">
                  <c:v>7.1732833857439351</c:v>
                </c:pt>
                <c:pt idx="289">
                  <c:v>7.6096565339504236</c:v>
                </c:pt>
                <c:pt idx="290">
                  <c:v>6.6277930840918069</c:v>
                </c:pt>
                <c:pt idx="291">
                  <c:v>6.2459307798201049</c:v>
                </c:pt>
                <c:pt idx="292">
                  <c:v>6.1368136263744661</c:v>
                </c:pt>
                <c:pt idx="293">
                  <c:v>6.3550479332657446</c:v>
                </c:pt>
                <c:pt idx="294">
                  <c:v>6.7368147719613791</c:v>
                </c:pt>
                <c:pt idx="295">
                  <c:v>6.2731384689994645</c:v>
                </c:pt>
                <c:pt idx="296">
                  <c:v>6.2459307798201049</c:v>
                </c:pt>
                <c:pt idx="297">
                  <c:v>7.091373921477655</c:v>
                </c:pt>
                <c:pt idx="298">
                  <c:v>7.8277953752656337</c:v>
                </c:pt>
                <c:pt idx="299">
                  <c:v>7.527842535260211</c:v>
                </c:pt>
                <c:pt idx="300">
                  <c:v>9.2734305936622317</c:v>
                </c:pt>
                <c:pt idx="301">
                  <c:v>9.7098037418687202</c:v>
                </c:pt>
                <c:pt idx="302">
                  <c:v>15.819314213487759</c:v>
                </c:pt>
                <c:pt idx="303">
                  <c:v>19.910491475878718</c:v>
                </c:pt>
                <c:pt idx="304">
                  <c:v>15.819314213487759</c:v>
                </c:pt>
                <c:pt idx="305">
                  <c:v>16.173873363004034</c:v>
                </c:pt>
                <c:pt idx="306">
                  <c:v>15.437451909216056</c:v>
                </c:pt>
                <c:pt idx="307">
                  <c:v>15.873920522998613</c:v>
                </c:pt>
                <c:pt idx="308">
                  <c:v>14.455588459357442</c:v>
                </c:pt>
                <c:pt idx="309">
                  <c:v>15.410244220036699</c:v>
                </c:pt>
                <c:pt idx="310">
                  <c:v>15.546569062661696</c:v>
                </c:pt>
                <c:pt idx="311">
                  <c:v>15.819314213487759</c:v>
                </c:pt>
                <c:pt idx="312">
                  <c:v>15.655686216107334</c:v>
                </c:pt>
                <c:pt idx="313">
                  <c:v>18.846814027329888</c:v>
                </c:pt>
                <c:pt idx="314">
                  <c:v>13.637353006879248</c:v>
                </c:pt>
                <c:pt idx="315">
                  <c:v>11.537205798960953</c:v>
                </c:pt>
                <c:pt idx="316">
                  <c:v>11.019018652064254</c:v>
                </c:pt>
                <c:pt idx="317">
                  <c:v>9.0006854428361684</c:v>
                </c:pt>
                <c:pt idx="318">
                  <c:v>8.6733339824992512</c:v>
                </c:pt>
                <c:pt idx="319">
                  <c:v>7.8550985300210598</c:v>
                </c:pt>
                <c:pt idx="320">
                  <c:v>7.0095599227874423</c:v>
                </c:pt>
                <c:pt idx="321">
                  <c:v>6.5458836198255277</c:v>
                </c:pt>
                <c:pt idx="322">
                  <c:v>5.7549513221027633</c:v>
                </c:pt>
                <c:pt idx="323">
                  <c:v>5.591323324722338</c:v>
                </c:pt>
                <c:pt idx="324">
                  <c:v>5.7276481673473363</c:v>
                </c:pt>
                <c:pt idx="325">
                  <c:v>5.1821578656952099</c:v>
                </c:pt>
                <c:pt idx="326">
                  <c:v>4.6366675640430817</c:v>
                </c:pt>
                <c:pt idx="327">
                  <c:v>5.3730890178310613</c:v>
                </c:pt>
                <c:pt idx="328">
                  <c:v>4.4730395666626581</c:v>
                </c:pt>
                <c:pt idx="329">
                  <c:v>5.1003438670049972</c:v>
                </c:pt>
                <c:pt idx="330">
                  <c:v>4.6912738735539357</c:v>
                </c:pt>
                <c:pt idx="331">
                  <c:v>6.9277459240972297</c:v>
                </c:pt>
                <c:pt idx="332">
                  <c:v>15.819314213487759</c:v>
                </c:pt>
                <c:pt idx="333">
                  <c:v>10.582550038281697</c:v>
                </c:pt>
                <c:pt idx="334">
                  <c:v>9.2734305936622317</c:v>
                </c:pt>
                <c:pt idx="335">
                  <c:v>7.0641662322982963</c:v>
                </c:pt>
                <c:pt idx="336">
                  <c:v>7.0829729507836765</c:v>
                </c:pt>
                <c:pt idx="337">
                  <c:v>6.1999163721553643</c:v>
                </c:pt>
                <c:pt idx="338">
                  <c:v>7.9847407823213032</c:v>
                </c:pt>
                <c:pt idx="339">
                  <c:v>7.9471273453505411</c:v>
                </c:pt>
                <c:pt idx="340">
                  <c:v>5.016334160065222</c:v>
                </c:pt>
                <c:pt idx="341">
                  <c:v>4.9787207230944599</c:v>
                </c:pt>
                <c:pt idx="342">
                  <c:v>4.6592929055711805</c:v>
                </c:pt>
                <c:pt idx="343">
                  <c:v>4.9787207230944599</c:v>
                </c:pt>
                <c:pt idx="344">
                  <c:v>5.316859793527053</c:v>
                </c:pt>
                <c:pt idx="345">
                  <c:v>5.7114190194157892</c:v>
                </c:pt>
                <c:pt idx="346">
                  <c:v>5.335666512012434</c:v>
                </c:pt>
                <c:pt idx="347">
                  <c:v>5.1477902583107555</c:v>
                </c:pt>
                <c:pt idx="348">
                  <c:v>4.8471691592728581</c:v>
                </c:pt>
                <c:pt idx="349">
                  <c:v>4.9787207230944599</c:v>
                </c:pt>
                <c:pt idx="350">
                  <c:v>4.8096511878781634</c:v>
                </c:pt>
                <c:pt idx="351">
                  <c:v>4.6405816526618668</c:v>
                </c:pt>
                <c:pt idx="352">
                  <c:v>4.941107286123696</c:v>
                </c:pt>
                <c:pt idx="353">
                  <c:v>5.0538521314599167</c:v>
                </c:pt>
                <c:pt idx="354">
                  <c:v>5.1102722869160608</c:v>
                </c:pt>
                <c:pt idx="355">
                  <c:v>5.4860247943194169</c:v>
                </c:pt>
                <c:pt idx="356">
                  <c:v>5.4296046388632728</c:v>
                </c:pt>
                <c:pt idx="357">
                  <c:v>5.1854036952815186</c:v>
                </c:pt>
                <c:pt idx="358">
                  <c:v>4.941107286123696</c:v>
                </c:pt>
                <c:pt idx="359">
                  <c:v>5.0726588499452987</c:v>
                </c:pt>
                <c:pt idx="360">
                  <c:v>5.1289835398253745</c:v>
                </c:pt>
                <c:pt idx="361">
                  <c:v>4.9035893147290022</c:v>
                </c:pt>
                <c:pt idx="362">
                  <c:v>4.6969063425419426</c:v>
                </c:pt>
                <c:pt idx="363">
                  <c:v>4.5090300888402659</c:v>
                </c:pt>
                <c:pt idx="364">
                  <c:v>4.6405816526618668</c:v>
                </c:pt>
                <c:pt idx="365">
                  <c:v>4.7532310324220193</c:v>
                </c:pt>
                <c:pt idx="366">
                  <c:v>4.997527441579841</c:v>
                </c:pt>
                <c:pt idx="367">
                  <c:v>4.6969063425419426</c:v>
                </c:pt>
                <c:pt idx="368">
                  <c:v>4.3962852435040451</c:v>
                </c:pt>
                <c:pt idx="369">
                  <c:v>3.7575250740335546</c:v>
                </c:pt>
                <c:pt idx="370">
                  <c:v>4.170891018407672</c:v>
                </c:pt>
                <c:pt idx="371">
                  <c:v>4.2835403981678253</c:v>
                </c:pt>
                <c:pt idx="372">
                  <c:v>4.3962852435040451</c:v>
                </c:pt>
                <c:pt idx="373">
                  <c:v>4.2084089898023676</c:v>
                </c:pt>
                <c:pt idx="374">
                  <c:v>3.1187649045630641</c:v>
                </c:pt>
                <c:pt idx="375">
                  <c:v>2.7993370870397847</c:v>
                </c:pt>
                <c:pt idx="376">
                  <c:v>3.0811514675923011</c:v>
                </c:pt>
                <c:pt idx="377">
                  <c:v>3.1938963129285214</c:v>
                </c:pt>
                <c:pt idx="378">
                  <c:v>3.1187649045630641</c:v>
                </c:pt>
                <c:pt idx="379">
                  <c:v>3.0811514675923011</c:v>
                </c:pt>
                <c:pt idx="380">
                  <c:v>2.8932752138906235</c:v>
                </c:pt>
                <c:pt idx="381">
                  <c:v>2.6678809887942507</c:v>
                </c:pt>
                <c:pt idx="382">
                  <c:v>2.6302675518234881</c:v>
                </c:pt>
                <c:pt idx="383">
                  <c:v>2.4800047350925731</c:v>
                </c:pt>
                <c:pt idx="384">
                  <c:v>2.3108397343002087</c:v>
                </c:pt>
                <c:pt idx="385">
                  <c:v>2.3108397343002087</c:v>
                </c:pt>
                <c:pt idx="386">
                  <c:v>2.4047778611510475</c:v>
                </c:pt>
                <c:pt idx="387">
                  <c:v>2.9684066222560808</c:v>
                </c:pt>
                <c:pt idx="388">
                  <c:v>2.9120819323760045</c:v>
                </c:pt>
                <c:pt idx="389">
                  <c:v>2.8181438055251657</c:v>
                </c:pt>
                <c:pt idx="390">
                  <c:v>2.6865922417035644</c:v>
                </c:pt>
                <c:pt idx="391">
                  <c:v>2.6302675518234881</c:v>
                </c:pt>
                <c:pt idx="392">
                  <c:v>2.4423912981218101</c:v>
                </c:pt>
                <c:pt idx="393">
                  <c:v>2.3672598897563528</c:v>
                </c:pt>
                <c:pt idx="394">
                  <c:v>2.5739428619434119</c:v>
                </c:pt>
                <c:pt idx="395">
                  <c:v>2.4423912981218101</c:v>
                </c:pt>
                <c:pt idx="396">
                  <c:v>2.0666387907184549</c:v>
                </c:pt>
                <c:pt idx="397">
                  <c:v>2.254515044420133</c:v>
                </c:pt>
                <c:pt idx="398">
                  <c:v>2.254515044420133</c:v>
                </c:pt>
                <c:pt idx="399">
                  <c:v>2.2921284813908951</c:v>
                </c:pt>
                <c:pt idx="400">
                  <c:v>2.3484531712709713</c:v>
                </c:pt>
                <c:pt idx="401">
                  <c:v>2.0666387907184549</c:v>
                </c:pt>
                <c:pt idx="402">
                  <c:v>1.9727006638676159</c:v>
                </c:pt>
                <c:pt idx="403">
                  <c:v>1.5781414379788794</c:v>
                </c:pt>
                <c:pt idx="404">
                  <c:v>1.4466853397333457</c:v>
                </c:pt>
                <c:pt idx="405">
                  <c:v>1.3527472128825067</c:v>
                </c:pt>
                <c:pt idx="406">
                  <c:v>1.3339404943971254</c:v>
                </c:pt>
                <c:pt idx="407">
                  <c:v>1.2963270574263626</c:v>
                </c:pt>
                <c:pt idx="408">
                  <c:v>1.1648709591808291</c:v>
                </c:pt>
                <c:pt idx="409">
                  <c:v>1.108450803724685</c:v>
                </c:pt>
                <c:pt idx="410">
                  <c:v>0.99570595838846465</c:v>
                </c:pt>
                <c:pt idx="411">
                  <c:v>1.1460642406954475</c:v>
                </c:pt>
                <c:pt idx="412">
                  <c:v>1.0333193953592275</c:v>
                </c:pt>
                <c:pt idx="413">
                  <c:v>1.6908862833150993</c:v>
                </c:pt>
                <c:pt idx="414">
                  <c:v>0.97699470547915146</c:v>
                </c:pt>
                <c:pt idx="415">
                  <c:v>0.92057455002300725</c:v>
                </c:pt>
                <c:pt idx="416">
                  <c:v>0.86424986014293115</c:v>
                </c:pt>
                <c:pt idx="417">
                  <c:v>0.86424986014293115</c:v>
                </c:pt>
                <c:pt idx="418">
                  <c:v>0.80782970468678705</c:v>
                </c:pt>
                <c:pt idx="419">
                  <c:v>0.82663642317216834</c:v>
                </c:pt>
                <c:pt idx="420">
                  <c:v>0.90176783153762596</c:v>
                </c:pt>
                <c:pt idx="421">
                  <c:v>1.0896440852393037</c:v>
                </c:pt>
                <c:pt idx="422">
                  <c:v>1.1648709591808291</c:v>
                </c:pt>
                <c:pt idx="423">
                  <c:v>1.4466853397333457</c:v>
                </c:pt>
                <c:pt idx="424">
                  <c:v>1.3527472128825067</c:v>
                </c:pt>
                <c:pt idx="425">
                  <c:v>1.3902651842772016</c:v>
                </c:pt>
                <c:pt idx="426">
                  <c:v>1.3151337759117441</c:v>
                </c:pt>
                <c:pt idx="427">
                  <c:v>1.1648709591808291</c:v>
                </c:pt>
                <c:pt idx="428">
                  <c:v>1.0896440852393037</c:v>
                </c:pt>
                <c:pt idx="429">
                  <c:v>1.07093283232999</c:v>
                </c:pt>
                <c:pt idx="430">
                  <c:v>0.99570595838846465</c:v>
                </c:pt>
                <c:pt idx="431">
                  <c:v>1.0145126768738462</c:v>
                </c:pt>
                <c:pt idx="432">
                  <c:v>0.78911845177747353</c:v>
                </c:pt>
                <c:pt idx="433">
                  <c:v>0.88305657862831255</c:v>
                </c:pt>
                <c:pt idx="434">
                  <c:v>0.93938126850838866</c:v>
                </c:pt>
                <c:pt idx="435">
                  <c:v>1.2963270574263626</c:v>
                </c:pt>
                <c:pt idx="436">
                  <c:v>1.1460642406954475</c:v>
                </c:pt>
                <c:pt idx="437">
                  <c:v>1.3151337759117441</c:v>
                </c:pt>
                <c:pt idx="438">
                  <c:v>1.3151337759117441</c:v>
                </c:pt>
                <c:pt idx="439">
                  <c:v>1.1648709591808291</c:v>
                </c:pt>
                <c:pt idx="440">
                  <c:v>1.1835822120901425</c:v>
                </c:pt>
                <c:pt idx="441">
                  <c:v>1.1648709591808291</c:v>
                </c:pt>
                <c:pt idx="442">
                  <c:v>1.3151337759117441</c:v>
                </c:pt>
                <c:pt idx="443">
                  <c:v>0.65756688795587204</c:v>
                </c:pt>
                <c:pt idx="444">
                  <c:v>0.78911845177747353</c:v>
                </c:pt>
                <c:pt idx="445">
                  <c:v>0.73269829632132943</c:v>
                </c:pt>
                <c:pt idx="446">
                  <c:v>0.71389157783594814</c:v>
                </c:pt>
                <c:pt idx="447">
                  <c:v>0.73269829632132943</c:v>
                </c:pt>
                <c:pt idx="448">
                  <c:v>0.77031173329209224</c:v>
                </c:pt>
                <c:pt idx="449">
                  <c:v>0.78911845177747353</c:v>
                </c:pt>
                <c:pt idx="450">
                  <c:v>0.67637360644125333</c:v>
                </c:pt>
                <c:pt idx="451">
                  <c:v>0.58243547959041453</c:v>
                </c:pt>
                <c:pt idx="452">
                  <c:v>0.52601532413427055</c:v>
                </c:pt>
                <c:pt idx="453">
                  <c:v>0.41336594437411817</c:v>
                </c:pt>
                <c:pt idx="454">
                  <c:v>0.60124219807579593</c:v>
                </c:pt>
                <c:pt idx="455">
                  <c:v>0.56362876110503324</c:v>
                </c:pt>
                <c:pt idx="456">
                  <c:v>0.35694578891797407</c:v>
                </c:pt>
                <c:pt idx="457">
                  <c:v>0.33813907043259278</c:v>
                </c:pt>
                <c:pt idx="458">
                  <c:v>0.18787625370167774</c:v>
                </c:pt>
                <c:pt idx="459">
                  <c:v>0.20668297218705908</c:v>
                </c:pt>
                <c:pt idx="460">
                  <c:v>0.19188580789653062</c:v>
                </c:pt>
                <c:pt idx="461">
                  <c:v>0.22529875952030459</c:v>
                </c:pt>
                <c:pt idx="462">
                  <c:v>0.24821049777660675</c:v>
                </c:pt>
                <c:pt idx="463">
                  <c:v>0.2673036129901919</c:v>
                </c:pt>
                <c:pt idx="464">
                  <c:v>0.26634895722951263</c:v>
                </c:pt>
                <c:pt idx="465">
                  <c:v>0.25775705538339932</c:v>
                </c:pt>
                <c:pt idx="466">
                  <c:v>0.23866394016981415</c:v>
                </c:pt>
                <c:pt idx="467">
                  <c:v>0.14319836410188852</c:v>
                </c:pt>
                <c:pt idx="468">
                  <c:v>0.15274492170868106</c:v>
                </c:pt>
                <c:pt idx="469">
                  <c:v>0.1107400682387938</c:v>
                </c:pt>
                <c:pt idx="470">
                  <c:v>8.7828329982491612E-2</c:v>
                </c:pt>
                <c:pt idx="471">
                  <c:v>8.2100395418416072E-2</c:v>
                </c:pt>
                <c:pt idx="472">
                  <c:v>7.5417805093661278E-2</c:v>
                </c:pt>
                <c:pt idx="473">
                  <c:v>8.4009706939774581E-2</c:v>
                </c:pt>
                <c:pt idx="474">
                  <c:v>8.4009706939774581E-2</c:v>
                </c:pt>
                <c:pt idx="475">
                  <c:v>8.0191083897057577E-2</c:v>
                </c:pt>
                <c:pt idx="476">
                  <c:v>8.0191083897057577E-2</c:v>
                </c:pt>
                <c:pt idx="477">
                  <c:v>8.8782985743170881E-2</c:v>
                </c:pt>
                <c:pt idx="478">
                  <c:v>9.1646953025208644E-2</c:v>
                </c:pt>
                <c:pt idx="479">
                  <c:v>0.12219593736694485</c:v>
                </c:pt>
                <c:pt idx="480">
                  <c:v>0.12983318345237893</c:v>
                </c:pt>
                <c:pt idx="481">
                  <c:v>0.1126493797601523</c:v>
                </c:pt>
                <c:pt idx="482">
                  <c:v>0.13747042953781297</c:v>
                </c:pt>
                <c:pt idx="483">
                  <c:v>0.17756597148634176</c:v>
                </c:pt>
                <c:pt idx="484">
                  <c:v>0.18902184061449284</c:v>
                </c:pt>
                <c:pt idx="485">
                  <c:v>0.17756597148634176</c:v>
                </c:pt>
                <c:pt idx="486">
                  <c:v>0.17947528300770027</c:v>
                </c:pt>
                <c:pt idx="487">
                  <c:v>0.15369957746936033</c:v>
                </c:pt>
                <c:pt idx="488">
                  <c:v>0.13747042953781297</c:v>
                </c:pt>
                <c:pt idx="489">
                  <c:v>0.10978541247811453</c:v>
                </c:pt>
                <c:pt idx="490">
                  <c:v>8.3055051179095327E-2</c:v>
                </c:pt>
                <c:pt idx="491">
                  <c:v>7.3508493572302769E-2</c:v>
                </c:pt>
                <c:pt idx="492">
                  <c:v>7.9236428136378309E-2</c:v>
                </c:pt>
                <c:pt idx="493">
                  <c:v>8.0191083897057577E-2</c:v>
                </c:pt>
                <c:pt idx="494">
                  <c:v>6.4916591726189465E-2</c:v>
                </c:pt>
                <c:pt idx="495">
                  <c:v>6.0143312922793173E-2</c:v>
                </c:pt>
                <c:pt idx="496">
                  <c:v>5.8234001401434664E-2</c:v>
                </c:pt>
                <c:pt idx="497">
                  <c:v>5.8234001401434664E-2</c:v>
                </c:pt>
                <c:pt idx="498">
                  <c:v>6.4916591726189465E-2</c:v>
                </c:pt>
                <c:pt idx="499">
                  <c:v>6.6825903247547974E-2</c:v>
                </c:pt>
                <c:pt idx="500">
                  <c:v>6.3007280204830943E-2</c:v>
                </c:pt>
                <c:pt idx="501">
                  <c:v>5.5370034119396901E-2</c:v>
                </c:pt>
                <c:pt idx="502">
                  <c:v>4.2959509230566552E-2</c:v>
                </c:pt>
                <c:pt idx="503">
                  <c:v>4.2959509230566552E-2</c:v>
                </c:pt>
                <c:pt idx="504">
                  <c:v>4.5823476512604322E-2</c:v>
                </c:pt>
                <c:pt idx="505">
                  <c:v>5.7279345640755402E-2</c:v>
                </c:pt>
                <c:pt idx="506">
                  <c:v>6.3007280204830943E-2</c:v>
                </c:pt>
                <c:pt idx="507">
                  <c:v>6.3961935965510211E-2</c:v>
                </c:pt>
                <c:pt idx="508">
                  <c:v>5.8234001401434664E-2</c:v>
                </c:pt>
                <c:pt idx="509">
                  <c:v>5.8234001401434664E-2</c:v>
                </c:pt>
                <c:pt idx="510">
                  <c:v>6.0143312922793173E-2</c:v>
                </c:pt>
                <c:pt idx="511">
                  <c:v>5.8234001401434664E-2</c:v>
                </c:pt>
                <c:pt idx="512">
                  <c:v>5.1551411076679862E-2</c:v>
                </c:pt>
                <c:pt idx="513">
                  <c:v>4.8687443794642092E-2</c:v>
                </c:pt>
                <c:pt idx="514">
                  <c:v>4.2959509230566552E-2</c:v>
                </c:pt>
                <c:pt idx="515">
                  <c:v>3.3412951623773987E-2</c:v>
                </c:pt>
                <c:pt idx="516">
                  <c:v>2.768501705969845E-2</c:v>
                </c:pt>
              </c:numCache>
            </c:numRef>
          </c:val>
          <c:smooth val="0"/>
        </c:ser>
        <c:ser>
          <c:idx val="2"/>
          <c:order val="2"/>
          <c:tx>
            <c:strRef>
              <c:f>[DATA.xlsx]Sheet1!$AB$3</c:f>
              <c:strCache>
                <c:ptCount val="1"/>
                <c:pt idx="0">
                  <c:v>MSEUBRIC Index</c:v>
                </c:pt>
              </c:strCache>
            </c:strRef>
          </c:tx>
          <c:marker>
            <c:symbol val="none"/>
          </c:marker>
          <c:cat>
            <c:numRef>
              <c:f>[DATA.xlsx]Sheet1!$Y$4:$Y$520</c:f>
              <c:numCache>
                <c:formatCode>m/d/yyyy</c:formatCode>
                <c:ptCount val="517"/>
                <c:pt idx="0">
                  <c:v>39087</c:v>
                </c:pt>
                <c:pt idx="1">
                  <c:v>39094</c:v>
                </c:pt>
                <c:pt idx="2">
                  <c:v>39101</c:v>
                </c:pt>
                <c:pt idx="3">
                  <c:v>39108</c:v>
                </c:pt>
                <c:pt idx="4">
                  <c:v>39115</c:v>
                </c:pt>
                <c:pt idx="5">
                  <c:v>39122</c:v>
                </c:pt>
                <c:pt idx="6">
                  <c:v>39129</c:v>
                </c:pt>
                <c:pt idx="7">
                  <c:v>39136</c:v>
                </c:pt>
                <c:pt idx="8">
                  <c:v>39143</c:v>
                </c:pt>
                <c:pt idx="9">
                  <c:v>39150</c:v>
                </c:pt>
                <c:pt idx="10">
                  <c:v>39157</c:v>
                </c:pt>
                <c:pt idx="11">
                  <c:v>39164</c:v>
                </c:pt>
                <c:pt idx="12">
                  <c:v>39171</c:v>
                </c:pt>
                <c:pt idx="13">
                  <c:v>39178</c:v>
                </c:pt>
                <c:pt idx="14">
                  <c:v>39185</c:v>
                </c:pt>
                <c:pt idx="15">
                  <c:v>39192</c:v>
                </c:pt>
                <c:pt idx="16">
                  <c:v>39199</c:v>
                </c:pt>
                <c:pt idx="17">
                  <c:v>39206</c:v>
                </c:pt>
                <c:pt idx="18">
                  <c:v>39213</c:v>
                </c:pt>
                <c:pt idx="19">
                  <c:v>39220</c:v>
                </c:pt>
                <c:pt idx="20">
                  <c:v>39227</c:v>
                </c:pt>
                <c:pt idx="21">
                  <c:v>39234</c:v>
                </c:pt>
                <c:pt idx="22">
                  <c:v>39241</c:v>
                </c:pt>
                <c:pt idx="23">
                  <c:v>39248</c:v>
                </c:pt>
                <c:pt idx="24">
                  <c:v>39255</c:v>
                </c:pt>
                <c:pt idx="25">
                  <c:v>39262</c:v>
                </c:pt>
                <c:pt idx="26">
                  <c:v>39269</c:v>
                </c:pt>
                <c:pt idx="27">
                  <c:v>39276</c:v>
                </c:pt>
                <c:pt idx="28">
                  <c:v>39283</c:v>
                </c:pt>
                <c:pt idx="29">
                  <c:v>39290</c:v>
                </c:pt>
                <c:pt idx="30">
                  <c:v>39297</c:v>
                </c:pt>
                <c:pt idx="31">
                  <c:v>39304</c:v>
                </c:pt>
                <c:pt idx="32">
                  <c:v>39311</c:v>
                </c:pt>
                <c:pt idx="33">
                  <c:v>39318</c:v>
                </c:pt>
                <c:pt idx="34">
                  <c:v>39325</c:v>
                </c:pt>
                <c:pt idx="35">
                  <c:v>39332</c:v>
                </c:pt>
                <c:pt idx="36">
                  <c:v>39339</c:v>
                </c:pt>
                <c:pt idx="37">
                  <c:v>39346</c:v>
                </c:pt>
                <c:pt idx="38">
                  <c:v>39353</c:v>
                </c:pt>
                <c:pt idx="39">
                  <c:v>39360</c:v>
                </c:pt>
                <c:pt idx="40">
                  <c:v>39367</c:v>
                </c:pt>
                <c:pt idx="41">
                  <c:v>39374</c:v>
                </c:pt>
                <c:pt idx="42">
                  <c:v>39381</c:v>
                </c:pt>
                <c:pt idx="43">
                  <c:v>39388</c:v>
                </c:pt>
                <c:pt idx="44">
                  <c:v>39395</c:v>
                </c:pt>
                <c:pt idx="45">
                  <c:v>39402</c:v>
                </c:pt>
                <c:pt idx="46">
                  <c:v>39409</c:v>
                </c:pt>
                <c:pt idx="47">
                  <c:v>39416</c:v>
                </c:pt>
                <c:pt idx="48">
                  <c:v>39423</c:v>
                </c:pt>
                <c:pt idx="49">
                  <c:v>39430</c:v>
                </c:pt>
                <c:pt idx="50">
                  <c:v>39437</c:v>
                </c:pt>
                <c:pt idx="51">
                  <c:v>39444</c:v>
                </c:pt>
                <c:pt idx="52">
                  <c:v>39451</c:v>
                </c:pt>
                <c:pt idx="53">
                  <c:v>39458</c:v>
                </c:pt>
                <c:pt idx="54">
                  <c:v>39465</c:v>
                </c:pt>
                <c:pt idx="55">
                  <c:v>39472</c:v>
                </c:pt>
                <c:pt idx="56">
                  <c:v>39479</c:v>
                </c:pt>
                <c:pt idx="57">
                  <c:v>39486</c:v>
                </c:pt>
                <c:pt idx="58">
                  <c:v>39493</c:v>
                </c:pt>
                <c:pt idx="59">
                  <c:v>39500</c:v>
                </c:pt>
                <c:pt idx="60">
                  <c:v>39507</c:v>
                </c:pt>
                <c:pt idx="61">
                  <c:v>39514</c:v>
                </c:pt>
                <c:pt idx="62">
                  <c:v>39521</c:v>
                </c:pt>
                <c:pt idx="63">
                  <c:v>39528</c:v>
                </c:pt>
                <c:pt idx="64">
                  <c:v>39535</c:v>
                </c:pt>
                <c:pt idx="65">
                  <c:v>39542</c:v>
                </c:pt>
                <c:pt idx="66">
                  <c:v>39549</c:v>
                </c:pt>
                <c:pt idx="67">
                  <c:v>39556</c:v>
                </c:pt>
                <c:pt idx="68">
                  <c:v>39563</c:v>
                </c:pt>
                <c:pt idx="69">
                  <c:v>39570</c:v>
                </c:pt>
                <c:pt idx="70">
                  <c:v>39577</c:v>
                </c:pt>
                <c:pt idx="71">
                  <c:v>39584</c:v>
                </c:pt>
                <c:pt idx="72">
                  <c:v>39591</c:v>
                </c:pt>
                <c:pt idx="73">
                  <c:v>39598</c:v>
                </c:pt>
                <c:pt idx="74">
                  <c:v>39605</c:v>
                </c:pt>
                <c:pt idx="75">
                  <c:v>39612</c:v>
                </c:pt>
                <c:pt idx="76">
                  <c:v>39619</c:v>
                </c:pt>
                <c:pt idx="77">
                  <c:v>39626</c:v>
                </c:pt>
                <c:pt idx="78">
                  <c:v>39633</c:v>
                </c:pt>
                <c:pt idx="79">
                  <c:v>39640</c:v>
                </c:pt>
                <c:pt idx="80">
                  <c:v>39647</c:v>
                </c:pt>
                <c:pt idx="81">
                  <c:v>39654</c:v>
                </c:pt>
                <c:pt idx="82">
                  <c:v>39661</c:v>
                </c:pt>
                <c:pt idx="83">
                  <c:v>39668</c:v>
                </c:pt>
                <c:pt idx="84">
                  <c:v>39675</c:v>
                </c:pt>
                <c:pt idx="85">
                  <c:v>39682</c:v>
                </c:pt>
                <c:pt idx="86">
                  <c:v>39689</c:v>
                </c:pt>
                <c:pt idx="87">
                  <c:v>39696</c:v>
                </c:pt>
                <c:pt idx="88">
                  <c:v>39703</c:v>
                </c:pt>
                <c:pt idx="89">
                  <c:v>39710</c:v>
                </c:pt>
                <c:pt idx="90">
                  <c:v>39717</c:v>
                </c:pt>
                <c:pt idx="91">
                  <c:v>39724</c:v>
                </c:pt>
                <c:pt idx="92">
                  <c:v>39731</c:v>
                </c:pt>
                <c:pt idx="93">
                  <c:v>39738</c:v>
                </c:pt>
                <c:pt idx="94">
                  <c:v>39745</c:v>
                </c:pt>
                <c:pt idx="95">
                  <c:v>39752</c:v>
                </c:pt>
                <c:pt idx="96">
                  <c:v>39759</c:v>
                </c:pt>
                <c:pt idx="97">
                  <c:v>39766</c:v>
                </c:pt>
                <c:pt idx="98">
                  <c:v>39773</c:v>
                </c:pt>
                <c:pt idx="99">
                  <c:v>39780</c:v>
                </c:pt>
                <c:pt idx="100">
                  <c:v>39787</c:v>
                </c:pt>
                <c:pt idx="101">
                  <c:v>39794</c:v>
                </c:pt>
                <c:pt idx="102">
                  <c:v>39801</c:v>
                </c:pt>
                <c:pt idx="103">
                  <c:v>39808</c:v>
                </c:pt>
                <c:pt idx="104">
                  <c:v>39815</c:v>
                </c:pt>
                <c:pt idx="105">
                  <c:v>39822</c:v>
                </c:pt>
                <c:pt idx="106">
                  <c:v>39829</c:v>
                </c:pt>
                <c:pt idx="107">
                  <c:v>39836</c:v>
                </c:pt>
                <c:pt idx="108">
                  <c:v>39843</c:v>
                </c:pt>
                <c:pt idx="109">
                  <c:v>39850</c:v>
                </c:pt>
                <c:pt idx="110">
                  <c:v>39857</c:v>
                </c:pt>
                <c:pt idx="111">
                  <c:v>39864</c:v>
                </c:pt>
                <c:pt idx="112">
                  <c:v>39871</c:v>
                </c:pt>
                <c:pt idx="113">
                  <c:v>39878</c:v>
                </c:pt>
                <c:pt idx="114">
                  <c:v>39885</c:v>
                </c:pt>
                <c:pt idx="115">
                  <c:v>39892</c:v>
                </c:pt>
                <c:pt idx="116">
                  <c:v>39899</c:v>
                </c:pt>
                <c:pt idx="117">
                  <c:v>39906</c:v>
                </c:pt>
                <c:pt idx="118">
                  <c:v>39913</c:v>
                </c:pt>
                <c:pt idx="119">
                  <c:v>39920</c:v>
                </c:pt>
                <c:pt idx="120">
                  <c:v>39927</c:v>
                </c:pt>
                <c:pt idx="121">
                  <c:v>39934</c:v>
                </c:pt>
                <c:pt idx="122">
                  <c:v>39941</c:v>
                </c:pt>
                <c:pt idx="123">
                  <c:v>39948</c:v>
                </c:pt>
                <c:pt idx="124">
                  <c:v>39955</c:v>
                </c:pt>
                <c:pt idx="125">
                  <c:v>39962</c:v>
                </c:pt>
                <c:pt idx="126">
                  <c:v>39969</c:v>
                </c:pt>
                <c:pt idx="127">
                  <c:v>39976</c:v>
                </c:pt>
                <c:pt idx="128">
                  <c:v>39983</c:v>
                </c:pt>
                <c:pt idx="129">
                  <c:v>39990</c:v>
                </c:pt>
                <c:pt idx="130">
                  <c:v>39997</c:v>
                </c:pt>
                <c:pt idx="131">
                  <c:v>40004</c:v>
                </c:pt>
                <c:pt idx="132">
                  <c:v>40011</c:v>
                </c:pt>
                <c:pt idx="133">
                  <c:v>40018</c:v>
                </c:pt>
                <c:pt idx="134">
                  <c:v>40025</c:v>
                </c:pt>
                <c:pt idx="135">
                  <c:v>40032</c:v>
                </c:pt>
                <c:pt idx="136">
                  <c:v>40039</c:v>
                </c:pt>
                <c:pt idx="137">
                  <c:v>40046</c:v>
                </c:pt>
                <c:pt idx="138">
                  <c:v>40053</c:v>
                </c:pt>
                <c:pt idx="139">
                  <c:v>40060</c:v>
                </c:pt>
                <c:pt idx="140">
                  <c:v>40067</c:v>
                </c:pt>
                <c:pt idx="141">
                  <c:v>40074</c:v>
                </c:pt>
                <c:pt idx="142">
                  <c:v>40081</c:v>
                </c:pt>
                <c:pt idx="143">
                  <c:v>40088</c:v>
                </c:pt>
                <c:pt idx="144">
                  <c:v>40095</c:v>
                </c:pt>
                <c:pt idx="145">
                  <c:v>40102</c:v>
                </c:pt>
                <c:pt idx="146">
                  <c:v>40109</c:v>
                </c:pt>
                <c:pt idx="147">
                  <c:v>40116</c:v>
                </c:pt>
                <c:pt idx="148">
                  <c:v>40123</c:v>
                </c:pt>
                <c:pt idx="149">
                  <c:v>40130</c:v>
                </c:pt>
                <c:pt idx="150">
                  <c:v>40137</c:v>
                </c:pt>
                <c:pt idx="151">
                  <c:v>40144</c:v>
                </c:pt>
                <c:pt idx="152">
                  <c:v>40151</c:v>
                </c:pt>
                <c:pt idx="153">
                  <c:v>40158</c:v>
                </c:pt>
                <c:pt idx="154">
                  <c:v>40165</c:v>
                </c:pt>
                <c:pt idx="155">
                  <c:v>40172</c:v>
                </c:pt>
                <c:pt idx="156">
                  <c:v>40179</c:v>
                </c:pt>
                <c:pt idx="157">
                  <c:v>40186</c:v>
                </c:pt>
                <c:pt idx="158">
                  <c:v>40193</c:v>
                </c:pt>
                <c:pt idx="159">
                  <c:v>40200</c:v>
                </c:pt>
                <c:pt idx="160">
                  <c:v>40207</c:v>
                </c:pt>
                <c:pt idx="161">
                  <c:v>40214</c:v>
                </c:pt>
                <c:pt idx="162">
                  <c:v>40221</c:v>
                </c:pt>
                <c:pt idx="163">
                  <c:v>40228</c:v>
                </c:pt>
                <c:pt idx="164">
                  <c:v>40235</c:v>
                </c:pt>
                <c:pt idx="165">
                  <c:v>40242</c:v>
                </c:pt>
                <c:pt idx="166">
                  <c:v>40249</c:v>
                </c:pt>
                <c:pt idx="167">
                  <c:v>40256</c:v>
                </c:pt>
                <c:pt idx="168">
                  <c:v>40263</c:v>
                </c:pt>
                <c:pt idx="169">
                  <c:v>40270</c:v>
                </c:pt>
                <c:pt idx="170">
                  <c:v>40277</c:v>
                </c:pt>
                <c:pt idx="171">
                  <c:v>40284</c:v>
                </c:pt>
                <c:pt idx="172">
                  <c:v>40291</c:v>
                </c:pt>
                <c:pt idx="173">
                  <c:v>40298</c:v>
                </c:pt>
                <c:pt idx="174">
                  <c:v>40305</c:v>
                </c:pt>
                <c:pt idx="175">
                  <c:v>40312</c:v>
                </c:pt>
                <c:pt idx="176">
                  <c:v>40319</c:v>
                </c:pt>
                <c:pt idx="177">
                  <c:v>40326</c:v>
                </c:pt>
                <c:pt idx="178">
                  <c:v>40333</c:v>
                </c:pt>
                <c:pt idx="179">
                  <c:v>40340</c:v>
                </c:pt>
                <c:pt idx="180">
                  <c:v>40347</c:v>
                </c:pt>
                <c:pt idx="181">
                  <c:v>40354</c:v>
                </c:pt>
                <c:pt idx="182">
                  <c:v>40361</c:v>
                </c:pt>
                <c:pt idx="183">
                  <c:v>40368</c:v>
                </c:pt>
                <c:pt idx="184">
                  <c:v>40375</c:v>
                </c:pt>
                <c:pt idx="185">
                  <c:v>40382</c:v>
                </c:pt>
                <c:pt idx="186">
                  <c:v>40389</c:v>
                </c:pt>
                <c:pt idx="187">
                  <c:v>40396</c:v>
                </c:pt>
                <c:pt idx="188">
                  <c:v>40403</c:v>
                </c:pt>
                <c:pt idx="189">
                  <c:v>40410</c:v>
                </c:pt>
                <c:pt idx="190">
                  <c:v>40417</c:v>
                </c:pt>
                <c:pt idx="191">
                  <c:v>40424</c:v>
                </c:pt>
                <c:pt idx="192">
                  <c:v>40431</c:v>
                </c:pt>
                <c:pt idx="193">
                  <c:v>40438</c:v>
                </c:pt>
                <c:pt idx="194">
                  <c:v>40445</c:v>
                </c:pt>
                <c:pt idx="195">
                  <c:v>40452</c:v>
                </c:pt>
                <c:pt idx="196">
                  <c:v>40459</c:v>
                </c:pt>
                <c:pt idx="197">
                  <c:v>40466</c:v>
                </c:pt>
                <c:pt idx="198">
                  <c:v>40473</c:v>
                </c:pt>
                <c:pt idx="199">
                  <c:v>40480</c:v>
                </c:pt>
                <c:pt idx="200">
                  <c:v>40487</c:v>
                </c:pt>
                <c:pt idx="201">
                  <c:v>40494</c:v>
                </c:pt>
                <c:pt idx="202">
                  <c:v>40501</c:v>
                </c:pt>
                <c:pt idx="203">
                  <c:v>40508</c:v>
                </c:pt>
                <c:pt idx="204">
                  <c:v>40515</c:v>
                </c:pt>
                <c:pt idx="205">
                  <c:v>40522</c:v>
                </c:pt>
                <c:pt idx="206">
                  <c:v>40529</c:v>
                </c:pt>
                <c:pt idx="207">
                  <c:v>40536</c:v>
                </c:pt>
                <c:pt idx="208">
                  <c:v>40543</c:v>
                </c:pt>
                <c:pt idx="209">
                  <c:v>40550</c:v>
                </c:pt>
                <c:pt idx="210">
                  <c:v>40557</c:v>
                </c:pt>
                <c:pt idx="211">
                  <c:v>40564</c:v>
                </c:pt>
                <c:pt idx="212">
                  <c:v>40571</c:v>
                </c:pt>
                <c:pt idx="213">
                  <c:v>40578</c:v>
                </c:pt>
                <c:pt idx="214">
                  <c:v>40585</c:v>
                </c:pt>
                <c:pt idx="215">
                  <c:v>40592</c:v>
                </c:pt>
                <c:pt idx="216">
                  <c:v>40599</c:v>
                </c:pt>
                <c:pt idx="217">
                  <c:v>40606</c:v>
                </c:pt>
                <c:pt idx="218">
                  <c:v>40613</c:v>
                </c:pt>
                <c:pt idx="219">
                  <c:v>40620</c:v>
                </c:pt>
                <c:pt idx="220">
                  <c:v>40627</c:v>
                </c:pt>
                <c:pt idx="221">
                  <c:v>40634</c:v>
                </c:pt>
                <c:pt idx="222">
                  <c:v>40641</c:v>
                </c:pt>
                <c:pt idx="223">
                  <c:v>40648</c:v>
                </c:pt>
                <c:pt idx="224">
                  <c:v>40655</c:v>
                </c:pt>
                <c:pt idx="225">
                  <c:v>40662</c:v>
                </c:pt>
                <c:pt idx="226">
                  <c:v>40669</c:v>
                </c:pt>
                <c:pt idx="227">
                  <c:v>40676</c:v>
                </c:pt>
                <c:pt idx="228">
                  <c:v>40683</c:v>
                </c:pt>
                <c:pt idx="229">
                  <c:v>40690</c:v>
                </c:pt>
                <c:pt idx="230">
                  <c:v>40697</c:v>
                </c:pt>
                <c:pt idx="231">
                  <c:v>40704</c:v>
                </c:pt>
                <c:pt idx="232">
                  <c:v>40711</c:v>
                </c:pt>
                <c:pt idx="233">
                  <c:v>40718</c:v>
                </c:pt>
                <c:pt idx="234">
                  <c:v>40725</c:v>
                </c:pt>
                <c:pt idx="235">
                  <c:v>40732</c:v>
                </c:pt>
                <c:pt idx="236">
                  <c:v>40739</c:v>
                </c:pt>
                <c:pt idx="237">
                  <c:v>40746</c:v>
                </c:pt>
                <c:pt idx="238">
                  <c:v>40753</c:v>
                </c:pt>
                <c:pt idx="239">
                  <c:v>40760</c:v>
                </c:pt>
                <c:pt idx="240">
                  <c:v>40767</c:v>
                </c:pt>
                <c:pt idx="241">
                  <c:v>40774</c:v>
                </c:pt>
                <c:pt idx="242">
                  <c:v>40781</c:v>
                </c:pt>
                <c:pt idx="243">
                  <c:v>40788</c:v>
                </c:pt>
                <c:pt idx="244">
                  <c:v>40795</c:v>
                </c:pt>
                <c:pt idx="245">
                  <c:v>40802</c:v>
                </c:pt>
                <c:pt idx="246">
                  <c:v>40809</c:v>
                </c:pt>
                <c:pt idx="247">
                  <c:v>40816</c:v>
                </c:pt>
                <c:pt idx="248">
                  <c:v>40823</c:v>
                </c:pt>
                <c:pt idx="249">
                  <c:v>40830</c:v>
                </c:pt>
                <c:pt idx="250">
                  <c:v>40837</c:v>
                </c:pt>
                <c:pt idx="251">
                  <c:v>40844</c:v>
                </c:pt>
                <c:pt idx="252">
                  <c:v>40851</c:v>
                </c:pt>
                <c:pt idx="253">
                  <c:v>40858</c:v>
                </c:pt>
                <c:pt idx="254">
                  <c:v>40865</c:v>
                </c:pt>
                <c:pt idx="255">
                  <c:v>40872</c:v>
                </c:pt>
                <c:pt idx="256">
                  <c:v>40879</c:v>
                </c:pt>
                <c:pt idx="257">
                  <c:v>40886</c:v>
                </c:pt>
                <c:pt idx="258">
                  <c:v>40893</c:v>
                </c:pt>
                <c:pt idx="259">
                  <c:v>40900</c:v>
                </c:pt>
                <c:pt idx="260">
                  <c:v>40907</c:v>
                </c:pt>
                <c:pt idx="261">
                  <c:v>40914</c:v>
                </c:pt>
                <c:pt idx="262">
                  <c:v>40921</c:v>
                </c:pt>
                <c:pt idx="263">
                  <c:v>40928</c:v>
                </c:pt>
                <c:pt idx="264">
                  <c:v>40935</c:v>
                </c:pt>
                <c:pt idx="265">
                  <c:v>40942</c:v>
                </c:pt>
                <c:pt idx="266">
                  <c:v>40949</c:v>
                </c:pt>
                <c:pt idx="267">
                  <c:v>40956</c:v>
                </c:pt>
                <c:pt idx="268">
                  <c:v>40963</c:v>
                </c:pt>
                <c:pt idx="269">
                  <c:v>40970</c:v>
                </c:pt>
                <c:pt idx="270">
                  <c:v>40977</c:v>
                </c:pt>
                <c:pt idx="271">
                  <c:v>40984</c:v>
                </c:pt>
                <c:pt idx="272">
                  <c:v>40991</c:v>
                </c:pt>
                <c:pt idx="273">
                  <c:v>40998</c:v>
                </c:pt>
                <c:pt idx="274">
                  <c:v>41005</c:v>
                </c:pt>
                <c:pt idx="275">
                  <c:v>41012</c:v>
                </c:pt>
                <c:pt idx="276">
                  <c:v>41019</c:v>
                </c:pt>
                <c:pt idx="277">
                  <c:v>41026</c:v>
                </c:pt>
                <c:pt idx="278">
                  <c:v>41033</c:v>
                </c:pt>
                <c:pt idx="279">
                  <c:v>41040</c:v>
                </c:pt>
                <c:pt idx="280">
                  <c:v>41047</c:v>
                </c:pt>
                <c:pt idx="281">
                  <c:v>41054</c:v>
                </c:pt>
                <c:pt idx="282">
                  <c:v>41061</c:v>
                </c:pt>
                <c:pt idx="283">
                  <c:v>41068</c:v>
                </c:pt>
                <c:pt idx="284">
                  <c:v>41075</c:v>
                </c:pt>
                <c:pt idx="285">
                  <c:v>41082</c:v>
                </c:pt>
                <c:pt idx="286">
                  <c:v>41089</c:v>
                </c:pt>
                <c:pt idx="287">
                  <c:v>41096</c:v>
                </c:pt>
                <c:pt idx="288">
                  <c:v>41103</c:v>
                </c:pt>
                <c:pt idx="289">
                  <c:v>41110</c:v>
                </c:pt>
                <c:pt idx="290">
                  <c:v>41117</c:v>
                </c:pt>
                <c:pt idx="291">
                  <c:v>41124</c:v>
                </c:pt>
                <c:pt idx="292">
                  <c:v>41131</c:v>
                </c:pt>
                <c:pt idx="293">
                  <c:v>41138</c:v>
                </c:pt>
                <c:pt idx="294">
                  <c:v>41145</c:v>
                </c:pt>
                <c:pt idx="295">
                  <c:v>41152</c:v>
                </c:pt>
                <c:pt idx="296">
                  <c:v>41159</c:v>
                </c:pt>
                <c:pt idx="297">
                  <c:v>41166</c:v>
                </c:pt>
                <c:pt idx="298">
                  <c:v>41173</c:v>
                </c:pt>
                <c:pt idx="299">
                  <c:v>41180</c:v>
                </c:pt>
                <c:pt idx="300">
                  <c:v>41187</c:v>
                </c:pt>
                <c:pt idx="301">
                  <c:v>41194</c:v>
                </c:pt>
                <c:pt idx="302">
                  <c:v>41201</c:v>
                </c:pt>
                <c:pt idx="303">
                  <c:v>41208</c:v>
                </c:pt>
                <c:pt idx="304">
                  <c:v>41215</c:v>
                </c:pt>
                <c:pt idx="305">
                  <c:v>41222</c:v>
                </c:pt>
                <c:pt idx="306">
                  <c:v>41229</c:v>
                </c:pt>
                <c:pt idx="307">
                  <c:v>41236</c:v>
                </c:pt>
                <c:pt idx="308">
                  <c:v>41243</c:v>
                </c:pt>
                <c:pt idx="309">
                  <c:v>41250</c:v>
                </c:pt>
                <c:pt idx="310">
                  <c:v>41257</c:v>
                </c:pt>
                <c:pt idx="311">
                  <c:v>41264</c:v>
                </c:pt>
                <c:pt idx="312">
                  <c:v>41271</c:v>
                </c:pt>
                <c:pt idx="313">
                  <c:v>41278</c:v>
                </c:pt>
                <c:pt idx="314">
                  <c:v>41285</c:v>
                </c:pt>
                <c:pt idx="315">
                  <c:v>41292</c:v>
                </c:pt>
                <c:pt idx="316">
                  <c:v>41299</c:v>
                </c:pt>
                <c:pt idx="317">
                  <c:v>41306</c:v>
                </c:pt>
                <c:pt idx="318">
                  <c:v>41313</c:v>
                </c:pt>
                <c:pt idx="319">
                  <c:v>41320</c:v>
                </c:pt>
                <c:pt idx="320">
                  <c:v>41327</c:v>
                </c:pt>
                <c:pt idx="321">
                  <c:v>41334</c:v>
                </c:pt>
                <c:pt idx="322">
                  <c:v>41341</c:v>
                </c:pt>
                <c:pt idx="323">
                  <c:v>41348</c:v>
                </c:pt>
                <c:pt idx="324">
                  <c:v>41355</c:v>
                </c:pt>
                <c:pt idx="325">
                  <c:v>41362</c:v>
                </c:pt>
                <c:pt idx="326">
                  <c:v>41369</c:v>
                </c:pt>
                <c:pt idx="327">
                  <c:v>41376</c:v>
                </c:pt>
                <c:pt idx="328">
                  <c:v>41383</c:v>
                </c:pt>
                <c:pt idx="329">
                  <c:v>41390</c:v>
                </c:pt>
                <c:pt idx="330">
                  <c:v>41397</c:v>
                </c:pt>
                <c:pt idx="331">
                  <c:v>41404</c:v>
                </c:pt>
                <c:pt idx="332">
                  <c:v>41411</c:v>
                </c:pt>
                <c:pt idx="333">
                  <c:v>41418</c:v>
                </c:pt>
                <c:pt idx="334">
                  <c:v>41425</c:v>
                </c:pt>
                <c:pt idx="335">
                  <c:v>41432</c:v>
                </c:pt>
                <c:pt idx="336">
                  <c:v>41439</c:v>
                </c:pt>
                <c:pt idx="337">
                  <c:v>41446</c:v>
                </c:pt>
                <c:pt idx="338">
                  <c:v>41453</c:v>
                </c:pt>
                <c:pt idx="339">
                  <c:v>41460</c:v>
                </c:pt>
                <c:pt idx="340">
                  <c:v>41467</c:v>
                </c:pt>
                <c:pt idx="341">
                  <c:v>41474</c:v>
                </c:pt>
                <c:pt idx="342">
                  <c:v>41481</c:v>
                </c:pt>
                <c:pt idx="343">
                  <c:v>41488</c:v>
                </c:pt>
                <c:pt idx="344">
                  <c:v>41495</c:v>
                </c:pt>
                <c:pt idx="345">
                  <c:v>41502</c:v>
                </c:pt>
                <c:pt idx="346">
                  <c:v>41509</c:v>
                </c:pt>
                <c:pt idx="347">
                  <c:v>41516</c:v>
                </c:pt>
                <c:pt idx="348">
                  <c:v>41523</c:v>
                </c:pt>
                <c:pt idx="349">
                  <c:v>41530</c:v>
                </c:pt>
                <c:pt idx="350">
                  <c:v>41537</c:v>
                </c:pt>
                <c:pt idx="351">
                  <c:v>41544</c:v>
                </c:pt>
                <c:pt idx="352">
                  <c:v>41551</c:v>
                </c:pt>
                <c:pt idx="353">
                  <c:v>41558</c:v>
                </c:pt>
                <c:pt idx="354">
                  <c:v>41565</c:v>
                </c:pt>
                <c:pt idx="355">
                  <c:v>41572</c:v>
                </c:pt>
                <c:pt idx="356">
                  <c:v>41579</c:v>
                </c:pt>
                <c:pt idx="357">
                  <c:v>41586</c:v>
                </c:pt>
                <c:pt idx="358">
                  <c:v>41593</c:v>
                </c:pt>
                <c:pt idx="359">
                  <c:v>41600</c:v>
                </c:pt>
                <c:pt idx="360">
                  <c:v>41607</c:v>
                </c:pt>
                <c:pt idx="361">
                  <c:v>41614</c:v>
                </c:pt>
                <c:pt idx="362">
                  <c:v>41621</c:v>
                </c:pt>
                <c:pt idx="363">
                  <c:v>41628</c:v>
                </c:pt>
                <c:pt idx="364">
                  <c:v>41635</c:v>
                </c:pt>
                <c:pt idx="365">
                  <c:v>41642</c:v>
                </c:pt>
                <c:pt idx="366">
                  <c:v>41649</c:v>
                </c:pt>
                <c:pt idx="367">
                  <c:v>41656</c:v>
                </c:pt>
                <c:pt idx="368">
                  <c:v>41663</c:v>
                </c:pt>
                <c:pt idx="369">
                  <c:v>41670</c:v>
                </c:pt>
                <c:pt idx="370">
                  <c:v>41677</c:v>
                </c:pt>
                <c:pt idx="371">
                  <c:v>41684</c:v>
                </c:pt>
                <c:pt idx="372">
                  <c:v>41691</c:v>
                </c:pt>
                <c:pt idx="373">
                  <c:v>41698</c:v>
                </c:pt>
                <c:pt idx="374">
                  <c:v>41705</c:v>
                </c:pt>
                <c:pt idx="375">
                  <c:v>41712</c:v>
                </c:pt>
                <c:pt idx="376">
                  <c:v>41719</c:v>
                </c:pt>
                <c:pt idx="377">
                  <c:v>41726</c:v>
                </c:pt>
                <c:pt idx="378">
                  <c:v>41733</c:v>
                </c:pt>
                <c:pt idx="379">
                  <c:v>41740</c:v>
                </c:pt>
                <c:pt idx="380">
                  <c:v>41747</c:v>
                </c:pt>
                <c:pt idx="381">
                  <c:v>41754</c:v>
                </c:pt>
                <c:pt idx="382">
                  <c:v>41761</c:v>
                </c:pt>
                <c:pt idx="383">
                  <c:v>41768</c:v>
                </c:pt>
                <c:pt idx="384">
                  <c:v>41775</c:v>
                </c:pt>
                <c:pt idx="385">
                  <c:v>41782</c:v>
                </c:pt>
                <c:pt idx="386">
                  <c:v>41789</c:v>
                </c:pt>
                <c:pt idx="387">
                  <c:v>41796</c:v>
                </c:pt>
                <c:pt idx="388">
                  <c:v>41803</c:v>
                </c:pt>
                <c:pt idx="389">
                  <c:v>41810</c:v>
                </c:pt>
                <c:pt idx="390">
                  <c:v>41817</c:v>
                </c:pt>
                <c:pt idx="391">
                  <c:v>41824</c:v>
                </c:pt>
                <c:pt idx="392">
                  <c:v>41831</c:v>
                </c:pt>
                <c:pt idx="393">
                  <c:v>41838</c:v>
                </c:pt>
                <c:pt idx="394">
                  <c:v>41845</c:v>
                </c:pt>
                <c:pt idx="395">
                  <c:v>41852</c:v>
                </c:pt>
                <c:pt idx="396">
                  <c:v>41859</c:v>
                </c:pt>
                <c:pt idx="397">
                  <c:v>41866</c:v>
                </c:pt>
                <c:pt idx="398">
                  <c:v>41873</c:v>
                </c:pt>
                <c:pt idx="399">
                  <c:v>41880</c:v>
                </c:pt>
                <c:pt idx="400">
                  <c:v>41887</c:v>
                </c:pt>
                <c:pt idx="401">
                  <c:v>41894</c:v>
                </c:pt>
                <c:pt idx="402">
                  <c:v>41901</c:v>
                </c:pt>
                <c:pt idx="403">
                  <c:v>41908</c:v>
                </c:pt>
                <c:pt idx="404">
                  <c:v>41915</c:v>
                </c:pt>
                <c:pt idx="405">
                  <c:v>41922</c:v>
                </c:pt>
                <c:pt idx="406">
                  <c:v>41929</c:v>
                </c:pt>
                <c:pt idx="407">
                  <c:v>41936</c:v>
                </c:pt>
                <c:pt idx="408">
                  <c:v>41943</c:v>
                </c:pt>
                <c:pt idx="409">
                  <c:v>41950</c:v>
                </c:pt>
                <c:pt idx="410">
                  <c:v>41957</c:v>
                </c:pt>
                <c:pt idx="411">
                  <c:v>41964</c:v>
                </c:pt>
                <c:pt idx="412">
                  <c:v>41971</c:v>
                </c:pt>
                <c:pt idx="413">
                  <c:v>41978</c:v>
                </c:pt>
                <c:pt idx="414">
                  <c:v>41985</c:v>
                </c:pt>
                <c:pt idx="415">
                  <c:v>41992</c:v>
                </c:pt>
                <c:pt idx="416">
                  <c:v>41999</c:v>
                </c:pt>
                <c:pt idx="417">
                  <c:v>42006</c:v>
                </c:pt>
                <c:pt idx="418">
                  <c:v>42013</c:v>
                </c:pt>
                <c:pt idx="419">
                  <c:v>42020</c:v>
                </c:pt>
                <c:pt idx="420">
                  <c:v>42027</c:v>
                </c:pt>
                <c:pt idx="421">
                  <c:v>42034</c:v>
                </c:pt>
                <c:pt idx="422">
                  <c:v>42041</c:v>
                </c:pt>
                <c:pt idx="423">
                  <c:v>42048</c:v>
                </c:pt>
                <c:pt idx="424">
                  <c:v>42055</c:v>
                </c:pt>
                <c:pt idx="425">
                  <c:v>42062</c:v>
                </c:pt>
                <c:pt idx="426">
                  <c:v>42069</c:v>
                </c:pt>
                <c:pt idx="427">
                  <c:v>42076</c:v>
                </c:pt>
                <c:pt idx="428">
                  <c:v>42083</c:v>
                </c:pt>
                <c:pt idx="429">
                  <c:v>42090</c:v>
                </c:pt>
                <c:pt idx="430">
                  <c:v>42097</c:v>
                </c:pt>
                <c:pt idx="431">
                  <c:v>42104</c:v>
                </c:pt>
                <c:pt idx="432">
                  <c:v>42111</c:v>
                </c:pt>
                <c:pt idx="433">
                  <c:v>42118</c:v>
                </c:pt>
                <c:pt idx="434">
                  <c:v>42125</c:v>
                </c:pt>
                <c:pt idx="435">
                  <c:v>42132</c:v>
                </c:pt>
                <c:pt idx="436">
                  <c:v>42139</c:v>
                </c:pt>
                <c:pt idx="437">
                  <c:v>42146</c:v>
                </c:pt>
                <c:pt idx="438">
                  <c:v>42153</c:v>
                </c:pt>
                <c:pt idx="439">
                  <c:v>42160</c:v>
                </c:pt>
                <c:pt idx="440">
                  <c:v>42167</c:v>
                </c:pt>
                <c:pt idx="441">
                  <c:v>42174</c:v>
                </c:pt>
                <c:pt idx="442">
                  <c:v>42181</c:v>
                </c:pt>
                <c:pt idx="443">
                  <c:v>42223</c:v>
                </c:pt>
                <c:pt idx="444">
                  <c:v>42230</c:v>
                </c:pt>
                <c:pt idx="445">
                  <c:v>42237</c:v>
                </c:pt>
                <c:pt idx="446">
                  <c:v>42244</c:v>
                </c:pt>
                <c:pt idx="447">
                  <c:v>42251</c:v>
                </c:pt>
                <c:pt idx="448">
                  <c:v>42258</c:v>
                </c:pt>
                <c:pt idx="449">
                  <c:v>42265</c:v>
                </c:pt>
                <c:pt idx="450">
                  <c:v>42272</c:v>
                </c:pt>
                <c:pt idx="451">
                  <c:v>42279</c:v>
                </c:pt>
                <c:pt idx="452">
                  <c:v>42286</c:v>
                </c:pt>
                <c:pt idx="453">
                  <c:v>42293</c:v>
                </c:pt>
                <c:pt idx="454">
                  <c:v>42300</c:v>
                </c:pt>
                <c:pt idx="455">
                  <c:v>42307</c:v>
                </c:pt>
                <c:pt idx="456">
                  <c:v>42314</c:v>
                </c:pt>
                <c:pt idx="457">
                  <c:v>42321</c:v>
                </c:pt>
                <c:pt idx="458">
                  <c:v>42328</c:v>
                </c:pt>
                <c:pt idx="459">
                  <c:v>42335</c:v>
                </c:pt>
                <c:pt idx="460">
                  <c:v>42342</c:v>
                </c:pt>
                <c:pt idx="461">
                  <c:v>42349</c:v>
                </c:pt>
                <c:pt idx="462">
                  <c:v>42356</c:v>
                </c:pt>
                <c:pt idx="463">
                  <c:v>42363</c:v>
                </c:pt>
                <c:pt idx="464">
                  <c:v>42370</c:v>
                </c:pt>
                <c:pt idx="465">
                  <c:v>42377</c:v>
                </c:pt>
                <c:pt idx="466">
                  <c:v>42384</c:v>
                </c:pt>
                <c:pt idx="467">
                  <c:v>42391</c:v>
                </c:pt>
                <c:pt idx="468">
                  <c:v>42398</c:v>
                </c:pt>
                <c:pt idx="469">
                  <c:v>42405</c:v>
                </c:pt>
                <c:pt idx="470">
                  <c:v>42412</c:v>
                </c:pt>
                <c:pt idx="471">
                  <c:v>42419</c:v>
                </c:pt>
                <c:pt idx="472">
                  <c:v>42426</c:v>
                </c:pt>
                <c:pt idx="473">
                  <c:v>42433</c:v>
                </c:pt>
                <c:pt idx="474">
                  <c:v>42440</c:v>
                </c:pt>
                <c:pt idx="475">
                  <c:v>42447</c:v>
                </c:pt>
                <c:pt idx="476">
                  <c:v>42454</c:v>
                </c:pt>
                <c:pt idx="477">
                  <c:v>42461</c:v>
                </c:pt>
                <c:pt idx="478">
                  <c:v>42468</c:v>
                </c:pt>
                <c:pt idx="479">
                  <c:v>42475</c:v>
                </c:pt>
                <c:pt idx="480">
                  <c:v>42482</c:v>
                </c:pt>
                <c:pt idx="481">
                  <c:v>42489</c:v>
                </c:pt>
                <c:pt idx="482">
                  <c:v>42496</c:v>
                </c:pt>
                <c:pt idx="483">
                  <c:v>42503</c:v>
                </c:pt>
                <c:pt idx="484">
                  <c:v>42510</c:v>
                </c:pt>
                <c:pt idx="485">
                  <c:v>42517</c:v>
                </c:pt>
                <c:pt idx="486">
                  <c:v>42524</c:v>
                </c:pt>
                <c:pt idx="487">
                  <c:v>42531</c:v>
                </c:pt>
                <c:pt idx="488">
                  <c:v>42538</c:v>
                </c:pt>
                <c:pt idx="489">
                  <c:v>42545</c:v>
                </c:pt>
                <c:pt idx="490">
                  <c:v>42552</c:v>
                </c:pt>
                <c:pt idx="491">
                  <c:v>42559</c:v>
                </c:pt>
                <c:pt idx="492">
                  <c:v>42566</c:v>
                </c:pt>
                <c:pt idx="493">
                  <c:v>42573</c:v>
                </c:pt>
                <c:pt idx="494">
                  <c:v>42580</c:v>
                </c:pt>
                <c:pt idx="495">
                  <c:v>42587</c:v>
                </c:pt>
                <c:pt idx="496">
                  <c:v>42594</c:v>
                </c:pt>
                <c:pt idx="497">
                  <c:v>42601</c:v>
                </c:pt>
                <c:pt idx="498">
                  <c:v>42608</c:v>
                </c:pt>
                <c:pt idx="499">
                  <c:v>42615</c:v>
                </c:pt>
                <c:pt idx="500">
                  <c:v>42622</c:v>
                </c:pt>
                <c:pt idx="501">
                  <c:v>42629</c:v>
                </c:pt>
                <c:pt idx="502">
                  <c:v>42636</c:v>
                </c:pt>
                <c:pt idx="503">
                  <c:v>42643</c:v>
                </c:pt>
                <c:pt idx="504">
                  <c:v>42650</c:v>
                </c:pt>
                <c:pt idx="505">
                  <c:v>42657</c:v>
                </c:pt>
                <c:pt idx="506">
                  <c:v>42664</c:v>
                </c:pt>
                <c:pt idx="507">
                  <c:v>42671</c:v>
                </c:pt>
                <c:pt idx="508">
                  <c:v>42678</c:v>
                </c:pt>
                <c:pt idx="509">
                  <c:v>42685</c:v>
                </c:pt>
                <c:pt idx="510">
                  <c:v>42692</c:v>
                </c:pt>
                <c:pt idx="511">
                  <c:v>42699</c:v>
                </c:pt>
                <c:pt idx="512">
                  <c:v>42706</c:v>
                </c:pt>
                <c:pt idx="513">
                  <c:v>42713</c:v>
                </c:pt>
                <c:pt idx="514">
                  <c:v>42720</c:v>
                </c:pt>
                <c:pt idx="515">
                  <c:v>42727</c:v>
                </c:pt>
                <c:pt idx="516">
                  <c:v>42734</c:v>
                </c:pt>
              </c:numCache>
            </c:numRef>
          </c:cat>
          <c:val>
            <c:numRef>
              <c:f>[DATA.xlsx]Sheet1!$AB$4:$AB$520</c:f>
              <c:numCache>
                <c:formatCode>General</c:formatCode>
                <c:ptCount val="517"/>
                <c:pt idx="0">
                  <c:v>100</c:v>
                </c:pt>
                <c:pt idx="1">
                  <c:v>95.782317240795962</c:v>
                </c:pt>
                <c:pt idx="2">
                  <c:v>97.174818668189232</c:v>
                </c:pt>
                <c:pt idx="3">
                  <c:v>98.147208300732373</c:v>
                </c:pt>
                <c:pt idx="4">
                  <c:v>99.513628962337961</c:v>
                </c:pt>
                <c:pt idx="5">
                  <c:v>99.629582637258835</c:v>
                </c:pt>
                <c:pt idx="6">
                  <c:v>100.64109341848351</c:v>
                </c:pt>
                <c:pt idx="7">
                  <c:v>100.31014964720477</c:v>
                </c:pt>
                <c:pt idx="8">
                  <c:v>92.155681025185558</c:v>
                </c:pt>
                <c:pt idx="9">
                  <c:v>94.056757385438473</c:v>
                </c:pt>
                <c:pt idx="10">
                  <c:v>92.642404505628519</c:v>
                </c:pt>
                <c:pt idx="11">
                  <c:v>98.142978987361403</c:v>
                </c:pt>
                <c:pt idx="12">
                  <c:v>99.351152840336368</c:v>
                </c:pt>
                <c:pt idx="13">
                  <c:v>100.90824504641671</c:v>
                </c:pt>
                <c:pt idx="14">
                  <c:v>103.63192285732413</c:v>
                </c:pt>
                <c:pt idx="15">
                  <c:v>104.76185441293606</c:v>
                </c:pt>
                <c:pt idx="16">
                  <c:v>103.59703102201358</c:v>
                </c:pt>
                <c:pt idx="17">
                  <c:v>105.66622258876271</c:v>
                </c:pt>
                <c:pt idx="18">
                  <c:v>104.45910606413051</c:v>
                </c:pt>
                <c:pt idx="19">
                  <c:v>108.4942234628208</c:v>
                </c:pt>
                <c:pt idx="20">
                  <c:v>107.02206996694088</c:v>
                </c:pt>
                <c:pt idx="21">
                  <c:v>110.29873050110315</c:v>
                </c:pt>
                <c:pt idx="22">
                  <c:v>106.98189148991662</c:v>
                </c:pt>
                <c:pt idx="23">
                  <c:v>112.90997906489881</c:v>
                </c:pt>
                <c:pt idx="24">
                  <c:v>115.43734624683684</c:v>
                </c:pt>
                <c:pt idx="25">
                  <c:v>115.26923104034061</c:v>
                </c:pt>
                <c:pt idx="26">
                  <c:v>120.19708600308741</c:v>
                </c:pt>
                <c:pt idx="27">
                  <c:v>125.12317875192964</c:v>
                </c:pt>
                <c:pt idx="28">
                  <c:v>126.01732608710977</c:v>
                </c:pt>
                <c:pt idx="29">
                  <c:v>118.88705618642814</c:v>
                </c:pt>
                <c:pt idx="30">
                  <c:v>119.2726285887486</c:v>
                </c:pt>
                <c:pt idx="31">
                  <c:v>114.51500348918353</c:v>
                </c:pt>
                <c:pt idx="32">
                  <c:v>105.29968209661162</c:v>
                </c:pt>
                <c:pt idx="33">
                  <c:v>115.79542811224599</c:v>
                </c:pt>
                <c:pt idx="34">
                  <c:v>122.66030859889898</c:v>
                </c:pt>
                <c:pt idx="35">
                  <c:v>123.33453163878845</c:v>
                </c:pt>
                <c:pt idx="36">
                  <c:v>126.76697188211494</c:v>
                </c:pt>
                <c:pt idx="37">
                  <c:v>135.34930604016438</c:v>
                </c:pt>
                <c:pt idx="38">
                  <c:v>143.06533584272594</c:v>
                </c:pt>
                <c:pt idx="39">
                  <c:v>147.90860453805325</c:v>
                </c:pt>
                <c:pt idx="40">
                  <c:v>153.29252045930343</c:v>
                </c:pt>
                <c:pt idx="41">
                  <c:v>152.71839116919369</c:v>
                </c:pt>
                <c:pt idx="42">
                  <c:v>159.81447412012659</c:v>
                </c:pt>
                <c:pt idx="43">
                  <c:v>162.28086870096644</c:v>
                </c:pt>
                <c:pt idx="44">
                  <c:v>157.11440997554047</c:v>
                </c:pt>
                <c:pt idx="45">
                  <c:v>153.80144783494401</c:v>
                </c:pt>
                <c:pt idx="46">
                  <c:v>145.80346380765084</c:v>
                </c:pt>
                <c:pt idx="47">
                  <c:v>154.04357602543229</c:v>
                </c:pt>
                <c:pt idx="48">
                  <c:v>159.79544220995723</c:v>
                </c:pt>
                <c:pt idx="49">
                  <c:v>152.66587719483744</c:v>
                </c:pt>
                <c:pt idx="50">
                  <c:v>152.83540217245732</c:v>
                </c:pt>
                <c:pt idx="51">
                  <c:v>155.97813444987207</c:v>
                </c:pt>
                <c:pt idx="52">
                  <c:v>154.10102419872135</c:v>
                </c:pt>
                <c:pt idx="53">
                  <c:v>154.47003179033885</c:v>
                </c:pt>
                <c:pt idx="54">
                  <c:v>140.57744225225036</c:v>
                </c:pt>
                <c:pt idx="55">
                  <c:v>137.12843719822087</c:v>
                </c:pt>
                <c:pt idx="56">
                  <c:v>137.22218697794415</c:v>
                </c:pt>
                <c:pt idx="57">
                  <c:v>132.62598067203791</c:v>
                </c:pt>
                <c:pt idx="58">
                  <c:v>139.19974342165551</c:v>
                </c:pt>
                <c:pt idx="59">
                  <c:v>141.20514284505913</c:v>
                </c:pt>
                <c:pt idx="60">
                  <c:v>142.6082175558798</c:v>
                </c:pt>
                <c:pt idx="61">
                  <c:v>133.60189473239021</c:v>
                </c:pt>
                <c:pt idx="62">
                  <c:v>131.52847385227008</c:v>
                </c:pt>
                <c:pt idx="63">
                  <c:v>121.71258996101983</c:v>
                </c:pt>
                <c:pt idx="64">
                  <c:v>131.81571471871541</c:v>
                </c:pt>
                <c:pt idx="65">
                  <c:v>135.90228876341928</c:v>
                </c:pt>
                <c:pt idx="66">
                  <c:v>137.62220953428212</c:v>
                </c:pt>
                <c:pt idx="67">
                  <c:v>140.67471645978276</c:v>
                </c:pt>
                <c:pt idx="68">
                  <c:v>144.38241451500349</c:v>
                </c:pt>
                <c:pt idx="69">
                  <c:v>148.8031043160143</c:v>
                </c:pt>
                <c:pt idx="70">
                  <c:v>146.64192518344649</c:v>
                </c:pt>
                <c:pt idx="71">
                  <c:v>154.37628201061557</c:v>
                </c:pt>
                <c:pt idx="72">
                  <c:v>150.3616062932183</c:v>
                </c:pt>
                <c:pt idx="73">
                  <c:v>150.47544531145368</c:v>
                </c:pt>
                <c:pt idx="74">
                  <c:v>145.36890185878323</c:v>
                </c:pt>
                <c:pt idx="75">
                  <c:v>137.71102511507257</c:v>
                </c:pt>
                <c:pt idx="76">
                  <c:v>136.61034631027653</c:v>
                </c:pt>
                <c:pt idx="77">
                  <c:v>133.36857761142477</c:v>
                </c:pt>
                <c:pt idx="78">
                  <c:v>125.95705837157338</c:v>
                </c:pt>
                <c:pt idx="79">
                  <c:v>128.13127788703505</c:v>
                </c:pt>
                <c:pt idx="80">
                  <c:v>126.0694876186851</c:v>
                </c:pt>
                <c:pt idx="81">
                  <c:v>123.32184369867554</c:v>
                </c:pt>
                <c:pt idx="82">
                  <c:v>125.11472012518767</c:v>
                </c:pt>
                <c:pt idx="83">
                  <c:v>117.56187133018953</c:v>
                </c:pt>
                <c:pt idx="84">
                  <c:v>114.32115995968056</c:v>
                </c:pt>
                <c:pt idx="85">
                  <c:v>113.47036308655292</c:v>
                </c:pt>
                <c:pt idx="86">
                  <c:v>114.43781852016326</c:v>
                </c:pt>
                <c:pt idx="87">
                  <c:v>103.52196070967878</c:v>
                </c:pt>
                <c:pt idx="88">
                  <c:v>98.487315584314899</c:v>
                </c:pt>
                <c:pt idx="89">
                  <c:v>98.658602775839341</c:v>
                </c:pt>
                <c:pt idx="90">
                  <c:v>94.057814713781227</c:v>
                </c:pt>
                <c:pt idx="91">
                  <c:v>82.454693480513441</c:v>
                </c:pt>
                <c:pt idx="92">
                  <c:v>63.2737000148026</c:v>
                </c:pt>
                <c:pt idx="93">
                  <c:v>61.596072377649492</c:v>
                </c:pt>
                <c:pt idx="94">
                  <c:v>50.82577343568272</c:v>
                </c:pt>
                <c:pt idx="95">
                  <c:v>63.278986656516324</c:v>
                </c:pt>
                <c:pt idx="96">
                  <c:v>63.291674596629242</c:v>
                </c:pt>
                <c:pt idx="97">
                  <c:v>59.13531688130432</c:v>
                </c:pt>
                <c:pt idx="98">
                  <c:v>51.583525414648946</c:v>
                </c:pt>
                <c:pt idx="99">
                  <c:v>59.306956515609698</c:v>
                </c:pt>
                <c:pt idx="100">
                  <c:v>56.18360859114523</c:v>
                </c:pt>
                <c:pt idx="101">
                  <c:v>63.073512515243159</c:v>
                </c:pt>
                <c:pt idx="102">
                  <c:v>65.03238949156605</c:v>
                </c:pt>
                <c:pt idx="103">
                  <c:v>60.537686706563186</c:v>
                </c:pt>
                <c:pt idx="104">
                  <c:v>65.29143493553822</c:v>
                </c:pt>
                <c:pt idx="105">
                  <c:v>63.776283420386704</c:v>
                </c:pt>
                <c:pt idx="106">
                  <c:v>59.40317339479936</c:v>
                </c:pt>
                <c:pt idx="107">
                  <c:v>56.15259362642476</c:v>
                </c:pt>
                <c:pt idx="108">
                  <c:v>59.55930554674449</c:v>
                </c:pt>
                <c:pt idx="109">
                  <c:v>63.411152699359263</c:v>
                </c:pt>
                <c:pt idx="110">
                  <c:v>64.088900167057886</c:v>
                </c:pt>
                <c:pt idx="111">
                  <c:v>57.5690611629202</c:v>
                </c:pt>
                <c:pt idx="112">
                  <c:v>57.221905023719401</c:v>
                </c:pt>
                <c:pt idx="113">
                  <c:v>55.933726659476832</c:v>
                </c:pt>
                <c:pt idx="114">
                  <c:v>60.440764941811707</c:v>
                </c:pt>
                <c:pt idx="115">
                  <c:v>62.909626622117912</c:v>
                </c:pt>
                <c:pt idx="116">
                  <c:v>67.686283631852376</c:v>
                </c:pt>
                <c:pt idx="117">
                  <c:v>70.5900597038071</c:v>
                </c:pt>
                <c:pt idx="118">
                  <c:v>73.292590947859608</c:v>
                </c:pt>
                <c:pt idx="119">
                  <c:v>74.401728379397611</c:v>
                </c:pt>
                <c:pt idx="120">
                  <c:v>74.619538018002785</c:v>
                </c:pt>
                <c:pt idx="121">
                  <c:v>75.298342814044133</c:v>
                </c:pt>
                <c:pt idx="122">
                  <c:v>83.688948099276089</c:v>
                </c:pt>
                <c:pt idx="123">
                  <c:v>81.492524688616811</c:v>
                </c:pt>
                <c:pt idx="124">
                  <c:v>87.012131080519083</c:v>
                </c:pt>
                <c:pt idx="125">
                  <c:v>92.562047551580008</c:v>
                </c:pt>
                <c:pt idx="126">
                  <c:v>94.927995939859173</c:v>
                </c:pt>
                <c:pt idx="127">
                  <c:v>96.017749018446864</c:v>
                </c:pt>
                <c:pt idx="128">
                  <c:v>89.894055700057109</c:v>
                </c:pt>
                <c:pt idx="129">
                  <c:v>91.154038641826503</c:v>
                </c:pt>
                <c:pt idx="130">
                  <c:v>90.449153079997473</c:v>
                </c:pt>
                <c:pt idx="131">
                  <c:v>84.197523032135734</c:v>
                </c:pt>
                <c:pt idx="132">
                  <c:v>91.408854772427702</c:v>
                </c:pt>
                <c:pt idx="133">
                  <c:v>97.093051943017045</c:v>
                </c:pt>
                <c:pt idx="134">
                  <c:v>98.811210499975331</c:v>
                </c:pt>
                <c:pt idx="135">
                  <c:v>100.03242473584415</c:v>
                </c:pt>
                <c:pt idx="136">
                  <c:v>99.877702355022663</c:v>
                </c:pt>
                <c:pt idx="137">
                  <c:v>98.686445755531594</c:v>
                </c:pt>
                <c:pt idx="138">
                  <c:v>98.268801060147894</c:v>
                </c:pt>
                <c:pt idx="139">
                  <c:v>98.482381385382084</c:v>
                </c:pt>
                <c:pt idx="140">
                  <c:v>103.91035265424659</c:v>
                </c:pt>
                <c:pt idx="141">
                  <c:v>106.89977232196352</c:v>
                </c:pt>
                <c:pt idx="142">
                  <c:v>105.17703200885337</c:v>
                </c:pt>
                <c:pt idx="143">
                  <c:v>104.98424580769313</c:v>
                </c:pt>
                <c:pt idx="144">
                  <c:v>112.12085967843122</c:v>
                </c:pt>
                <c:pt idx="145">
                  <c:v>115.67242558170683</c:v>
                </c:pt>
                <c:pt idx="146">
                  <c:v>116.75618713301897</c:v>
                </c:pt>
                <c:pt idx="147">
                  <c:v>109.602656008797</c:v>
                </c:pt>
                <c:pt idx="148">
                  <c:v>113.08584801257517</c:v>
                </c:pt>
                <c:pt idx="149">
                  <c:v>116.37378671572671</c:v>
                </c:pt>
                <c:pt idx="150">
                  <c:v>116.91972058336329</c:v>
                </c:pt>
                <c:pt idx="151">
                  <c:v>113.76606257974018</c:v>
                </c:pt>
                <c:pt idx="152">
                  <c:v>118.65937814995738</c:v>
                </c:pt>
                <c:pt idx="153">
                  <c:v>116.38788442696331</c:v>
                </c:pt>
                <c:pt idx="154">
                  <c:v>112.38624909245985</c:v>
                </c:pt>
                <c:pt idx="155">
                  <c:v>115.32844142753424</c:v>
                </c:pt>
                <c:pt idx="156">
                  <c:v>117.11391655564718</c:v>
                </c:pt>
                <c:pt idx="157">
                  <c:v>120.12448279021901</c:v>
                </c:pt>
                <c:pt idx="158">
                  <c:v>118.4031522482325</c:v>
                </c:pt>
                <c:pt idx="159">
                  <c:v>112.39611749032545</c:v>
                </c:pt>
                <c:pt idx="160">
                  <c:v>108.3236411568582</c:v>
                </c:pt>
                <c:pt idx="161">
                  <c:v>104.38685529404302</c:v>
                </c:pt>
                <c:pt idx="162">
                  <c:v>107.6832526239365</c:v>
                </c:pt>
                <c:pt idx="163">
                  <c:v>109.4112795787604</c:v>
                </c:pt>
                <c:pt idx="164">
                  <c:v>110.19475988073337</c:v>
                </c:pt>
                <c:pt idx="165">
                  <c:v>114.9026905481895</c:v>
                </c:pt>
                <c:pt idx="166">
                  <c:v>116.97681631387147</c:v>
                </c:pt>
                <c:pt idx="167">
                  <c:v>116.49819901738954</c:v>
                </c:pt>
                <c:pt idx="168">
                  <c:v>115.14517118145871</c:v>
                </c:pt>
                <c:pt idx="169">
                  <c:v>120.29788463842897</c:v>
                </c:pt>
                <c:pt idx="170">
                  <c:v>122.47915300950891</c:v>
                </c:pt>
                <c:pt idx="171">
                  <c:v>120.0663297313681</c:v>
                </c:pt>
                <c:pt idx="172">
                  <c:v>118.48809095843289</c:v>
                </c:pt>
                <c:pt idx="173">
                  <c:v>117.54248697723926</c:v>
                </c:pt>
                <c:pt idx="174">
                  <c:v>105.92879246054403</c:v>
                </c:pt>
                <c:pt idx="175">
                  <c:v>109.19910902464984</c:v>
                </c:pt>
                <c:pt idx="176">
                  <c:v>101.20641163907041</c:v>
                </c:pt>
                <c:pt idx="177">
                  <c:v>105.60419265932177</c:v>
                </c:pt>
                <c:pt idx="178">
                  <c:v>105.02548161306014</c:v>
                </c:pt>
                <c:pt idx="179">
                  <c:v>106.27912058477307</c:v>
                </c:pt>
                <c:pt idx="180">
                  <c:v>109.69852044520574</c:v>
                </c:pt>
                <c:pt idx="181">
                  <c:v>109.69605334573933</c:v>
                </c:pt>
                <c:pt idx="182">
                  <c:v>105.52489303361601</c:v>
                </c:pt>
                <c:pt idx="183">
                  <c:v>109.20016635299261</c:v>
                </c:pt>
                <c:pt idx="184">
                  <c:v>107.81753332346496</c:v>
                </c:pt>
                <c:pt idx="185">
                  <c:v>112.76759218140936</c:v>
                </c:pt>
                <c:pt idx="186">
                  <c:v>113.73363784389605</c:v>
                </c:pt>
                <c:pt idx="187">
                  <c:v>115.66361451218397</c:v>
                </c:pt>
                <c:pt idx="188">
                  <c:v>111.98622653612188</c:v>
                </c:pt>
                <c:pt idx="189">
                  <c:v>112.71613553539584</c:v>
                </c:pt>
                <c:pt idx="190">
                  <c:v>110.51548281136559</c:v>
                </c:pt>
                <c:pt idx="191">
                  <c:v>114.03250932211155</c:v>
                </c:pt>
                <c:pt idx="192">
                  <c:v>114.91079673215054</c:v>
                </c:pt>
                <c:pt idx="193">
                  <c:v>117.24678748405198</c:v>
                </c:pt>
                <c:pt idx="194">
                  <c:v>119.05164696511522</c:v>
                </c:pt>
                <c:pt idx="195">
                  <c:v>122.95847519155265</c:v>
                </c:pt>
                <c:pt idx="196">
                  <c:v>124.80703757744931</c:v>
                </c:pt>
                <c:pt idx="197">
                  <c:v>127.72526380342151</c:v>
                </c:pt>
                <c:pt idx="198">
                  <c:v>125.10943348347396</c:v>
                </c:pt>
                <c:pt idx="199">
                  <c:v>124.70870604157416</c:v>
                </c:pt>
                <c:pt idx="200">
                  <c:v>130.69811866043548</c:v>
                </c:pt>
                <c:pt idx="201">
                  <c:v>125.94824730205052</c:v>
                </c:pt>
                <c:pt idx="202">
                  <c:v>123.66406563894353</c:v>
                </c:pt>
                <c:pt idx="203">
                  <c:v>120.06879683083451</c:v>
                </c:pt>
                <c:pt idx="204">
                  <c:v>124.54446770566798</c:v>
                </c:pt>
                <c:pt idx="205">
                  <c:v>122.19367435696815</c:v>
                </c:pt>
                <c:pt idx="206">
                  <c:v>121.83030584984529</c:v>
                </c:pt>
                <c:pt idx="207">
                  <c:v>123.11284512959321</c:v>
                </c:pt>
                <c:pt idx="208">
                  <c:v>125.60919734681076</c:v>
                </c:pt>
                <c:pt idx="209">
                  <c:v>125.26944250600916</c:v>
                </c:pt>
                <c:pt idx="210">
                  <c:v>126.68872958475193</c:v>
                </c:pt>
                <c:pt idx="211">
                  <c:v>124.46058632381035</c:v>
                </c:pt>
                <c:pt idx="212">
                  <c:v>121.6678297278437</c:v>
                </c:pt>
                <c:pt idx="213">
                  <c:v>122.10485877617769</c:v>
                </c:pt>
                <c:pt idx="214">
                  <c:v>119.16619086891245</c:v>
                </c:pt>
                <c:pt idx="215">
                  <c:v>122.8601436556775</c:v>
                </c:pt>
                <c:pt idx="216">
                  <c:v>121.05316951792877</c:v>
                </c:pt>
                <c:pt idx="217">
                  <c:v>125.85661217901276</c:v>
                </c:pt>
                <c:pt idx="218">
                  <c:v>122.73890333904292</c:v>
                </c:pt>
                <c:pt idx="219">
                  <c:v>121.35627030951525</c:v>
                </c:pt>
                <c:pt idx="220">
                  <c:v>126.40254604664933</c:v>
                </c:pt>
                <c:pt idx="221">
                  <c:v>130.93954196536194</c:v>
                </c:pt>
                <c:pt idx="222">
                  <c:v>133.31183432369755</c:v>
                </c:pt>
                <c:pt idx="223">
                  <c:v>130.28294106451818</c:v>
                </c:pt>
                <c:pt idx="224">
                  <c:v>132.04621229743353</c:v>
                </c:pt>
                <c:pt idx="225">
                  <c:v>129.32147715818337</c:v>
                </c:pt>
                <c:pt idx="226">
                  <c:v>124.32066653978728</c:v>
                </c:pt>
                <c:pt idx="227">
                  <c:v>121.99066731516139</c:v>
                </c:pt>
                <c:pt idx="228">
                  <c:v>121.63011835028583</c:v>
                </c:pt>
                <c:pt idx="229">
                  <c:v>123.10791093066041</c:v>
                </c:pt>
                <c:pt idx="230">
                  <c:v>123.32290102701826</c:v>
                </c:pt>
                <c:pt idx="231">
                  <c:v>120.97809920559396</c:v>
                </c:pt>
                <c:pt idx="232">
                  <c:v>117.82690830143727</c:v>
                </c:pt>
                <c:pt idx="233">
                  <c:v>119.60145770334188</c:v>
                </c:pt>
                <c:pt idx="234">
                  <c:v>124.20189332261909</c:v>
                </c:pt>
                <c:pt idx="235">
                  <c:v>124.10884842845763</c:v>
                </c:pt>
                <c:pt idx="236">
                  <c:v>120.40220770157966</c:v>
                </c:pt>
                <c:pt idx="237">
                  <c:v>122.76181211980237</c:v>
                </c:pt>
                <c:pt idx="238">
                  <c:v>120.94567446974985</c:v>
                </c:pt>
                <c:pt idx="239">
                  <c:v>110.40234867869204</c:v>
                </c:pt>
                <c:pt idx="240">
                  <c:v>104.54792164492095</c:v>
                </c:pt>
                <c:pt idx="241">
                  <c:v>102.59644596699727</c:v>
                </c:pt>
                <c:pt idx="242">
                  <c:v>102.49247534662746</c:v>
                </c:pt>
                <c:pt idx="243">
                  <c:v>107.32622808687012</c:v>
                </c:pt>
                <c:pt idx="244">
                  <c:v>104.30790811111817</c:v>
                </c:pt>
                <c:pt idx="245">
                  <c:v>102.87840019172889</c:v>
                </c:pt>
                <c:pt idx="246">
                  <c:v>89.980404181381161</c:v>
                </c:pt>
                <c:pt idx="247">
                  <c:v>90.807587388187528</c:v>
                </c:pt>
                <c:pt idx="248">
                  <c:v>91.313695221580787</c:v>
                </c:pt>
                <c:pt idx="249">
                  <c:v>97.841640409679499</c:v>
                </c:pt>
                <c:pt idx="250">
                  <c:v>95.335419794596362</c:v>
                </c:pt>
                <c:pt idx="251">
                  <c:v>106.63614512183948</c:v>
                </c:pt>
                <c:pt idx="252">
                  <c:v>104.32482536460206</c:v>
                </c:pt>
                <c:pt idx="253">
                  <c:v>102.527367181938</c:v>
                </c:pt>
                <c:pt idx="254">
                  <c:v>97.926931562660798</c:v>
                </c:pt>
                <c:pt idx="255">
                  <c:v>91.818745726631292</c:v>
                </c:pt>
                <c:pt idx="256">
                  <c:v>100.86665679826881</c:v>
                </c:pt>
                <c:pt idx="257">
                  <c:v>97.507524653372528</c:v>
                </c:pt>
                <c:pt idx="258">
                  <c:v>94.01869356509971</c:v>
                </c:pt>
                <c:pt idx="259">
                  <c:v>96.03642848583533</c:v>
                </c:pt>
                <c:pt idx="260">
                  <c:v>94.396159783459169</c:v>
                </c:pt>
                <c:pt idx="261">
                  <c:v>96.3631429437431</c:v>
                </c:pt>
                <c:pt idx="262">
                  <c:v>100.2664467423714</c:v>
                </c:pt>
                <c:pt idx="263">
                  <c:v>105.2531596495309</c:v>
                </c:pt>
                <c:pt idx="264">
                  <c:v>108.10865106050034</c:v>
                </c:pt>
                <c:pt idx="265">
                  <c:v>111.29684845665307</c:v>
                </c:pt>
                <c:pt idx="266">
                  <c:v>110.28428034708566</c:v>
                </c:pt>
                <c:pt idx="267">
                  <c:v>113.5190001903191</c:v>
                </c:pt>
                <c:pt idx="268">
                  <c:v>114.14634834034696</c:v>
                </c:pt>
                <c:pt idx="269">
                  <c:v>114.74232908287341</c:v>
                </c:pt>
                <c:pt idx="270">
                  <c:v>111.51642030916283</c:v>
                </c:pt>
                <c:pt idx="271">
                  <c:v>111.90199271148332</c:v>
                </c:pt>
                <c:pt idx="272">
                  <c:v>107.76607667745142</c:v>
                </c:pt>
                <c:pt idx="273">
                  <c:v>107.1415480696709</c:v>
                </c:pt>
                <c:pt idx="274">
                  <c:v>106.60336794321444</c:v>
                </c:pt>
                <c:pt idx="275">
                  <c:v>105.95628299745539</c:v>
                </c:pt>
                <c:pt idx="276">
                  <c:v>105.81354367118499</c:v>
                </c:pt>
                <c:pt idx="277">
                  <c:v>104.20252771962473</c:v>
                </c:pt>
                <c:pt idx="278">
                  <c:v>101.86547963938055</c:v>
                </c:pt>
                <c:pt idx="279">
                  <c:v>97.458535106825423</c:v>
                </c:pt>
                <c:pt idx="280">
                  <c:v>90.594007062953324</c:v>
                </c:pt>
                <c:pt idx="281">
                  <c:v>90.185173437092487</c:v>
                </c:pt>
                <c:pt idx="282">
                  <c:v>89.087666617324686</c:v>
                </c:pt>
                <c:pt idx="283">
                  <c:v>90.235572754763268</c:v>
                </c:pt>
                <c:pt idx="284">
                  <c:v>92.629364122734685</c:v>
                </c:pt>
                <c:pt idx="285">
                  <c:v>90.433645597637238</c:v>
                </c:pt>
                <c:pt idx="286">
                  <c:v>92.703729549507642</c:v>
                </c:pt>
                <c:pt idx="287">
                  <c:v>93.965122262400698</c:v>
                </c:pt>
                <c:pt idx="288">
                  <c:v>91.960075281778018</c:v>
                </c:pt>
                <c:pt idx="289">
                  <c:v>93.125251115481404</c:v>
                </c:pt>
                <c:pt idx="290">
                  <c:v>93.425532364820569</c:v>
                </c:pt>
                <c:pt idx="291">
                  <c:v>94.318269928877058</c:v>
                </c:pt>
                <c:pt idx="292">
                  <c:v>96.990491093770927</c:v>
                </c:pt>
                <c:pt idx="293">
                  <c:v>96.30992408382501</c:v>
                </c:pt>
                <c:pt idx="294">
                  <c:v>95.609620278147844</c:v>
                </c:pt>
                <c:pt idx="295">
                  <c:v>92.900040178477028</c:v>
                </c:pt>
                <c:pt idx="296">
                  <c:v>95.253653069424189</c:v>
                </c:pt>
                <c:pt idx="297">
                  <c:v>100.36054896487556</c:v>
                </c:pt>
                <c:pt idx="298">
                  <c:v>99.584822404082701</c:v>
                </c:pt>
                <c:pt idx="299">
                  <c:v>98.664594303114896</c:v>
                </c:pt>
                <c:pt idx="300">
                  <c:v>99.957706866290252</c:v>
                </c:pt>
                <c:pt idx="301">
                  <c:v>99.686325924986079</c:v>
                </c:pt>
                <c:pt idx="302">
                  <c:v>100.70171357680083</c:v>
                </c:pt>
                <c:pt idx="303">
                  <c:v>99.288418025333584</c:v>
                </c:pt>
                <c:pt idx="304">
                  <c:v>101.25152431502747</c:v>
                </c:pt>
                <c:pt idx="305">
                  <c:v>98.527141618558232</c:v>
                </c:pt>
                <c:pt idx="306">
                  <c:v>96.239787970423009</c:v>
                </c:pt>
                <c:pt idx="307">
                  <c:v>99.008930900068393</c:v>
                </c:pt>
                <c:pt idx="308">
                  <c:v>99.930216329378936</c:v>
                </c:pt>
                <c:pt idx="309">
                  <c:v>101.61559770771215</c:v>
                </c:pt>
                <c:pt idx="310">
                  <c:v>103.4497099395913</c:v>
                </c:pt>
                <c:pt idx="311">
                  <c:v>103.90541845531378</c:v>
                </c:pt>
                <c:pt idx="312">
                  <c:v>104.75480555731778</c:v>
                </c:pt>
                <c:pt idx="313">
                  <c:v>107.95463356524068</c:v>
                </c:pt>
                <c:pt idx="314">
                  <c:v>107.25186266009715</c:v>
                </c:pt>
                <c:pt idx="315">
                  <c:v>109.013019236327</c:v>
                </c:pt>
                <c:pt idx="316">
                  <c:v>108.53299216872141</c:v>
                </c:pt>
                <c:pt idx="317">
                  <c:v>109.55965798952541</c:v>
                </c:pt>
                <c:pt idx="318">
                  <c:v>106.98506347494485</c:v>
                </c:pt>
                <c:pt idx="319">
                  <c:v>107.27477144085657</c:v>
                </c:pt>
                <c:pt idx="320">
                  <c:v>104.49399789944103</c:v>
                </c:pt>
                <c:pt idx="321">
                  <c:v>103.82717615795076</c:v>
                </c:pt>
                <c:pt idx="322">
                  <c:v>106.54662465548719</c:v>
                </c:pt>
                <c:pt idx="323">
                  <c:v>103.83211035688358</c:v>
                </c:pt>
                <c:pt idx="324">
                  <c:v>100.75211289447159</c:v>
                </c:pt>
                <c:pt idx="325">
                  <c:v>101.45911311298612</c:v>
                </c:pt>
                <c:pt idx="326">
                  <c:v>98.614194985444129</c:v>
                </c:pt>
                <c:pt idx="327">
                  <c:v>100.00176221390458</c:v>
                </c:pt>
                <c:pt idx="328">
                  <c:v>99.067788844481115</c:v>
                </c:pt>
                <c:pt idx="329">
                  <c:v>100.49659187830855</c:v>
                </c:pt>
                <c:pt idx="330">
                  <c:v>102.35819464709905</c:v>
                </c:pt>
                <c:pt idx="331">
                  <c:v>104.04745289602235</c:v>
                </c:pt>
                <c:pt idx="332">
                  <c:v>102.99893562280164</c:v>
                </c:pt>
                <c:pt idx="333">
                  <c:v>101.22121423586883</c:v>
                </c:pt>
                <c:pt idx="334">
                  <c:v>98.548640628194022</c:v>
                </c:pt>
                <c:pt idx="335">
                  <c:v>95.361500560384016</c:v>
                </c:pt>
                <c:pt idx="336">
                  <c:v>91.881128098853154</c:v>
                </c:pt>
                <c:pt idx="337">
                  <c:v>87.001910239872572</c:v>
                </c:pt>
                <c:pt idx="338">
                  <c:v>89.661795907434438</c:v>
                </c:pt>
                <c:pt idx="339">
                  <c:v>87.437177074301999</c:v>
                </c:pt>
                <c:pt idx="340">
                  <c:v>90.116447094814163</c:v>
                </c:pt>
                <c:pt idx="341">
                  <c:v>91.620672883757322</c:v>
                </c:pt>
                <c:pt idx="342">
                  <c:v>92.832018721760534</c:v>
                </c:pt>
                <c:pt idx="343">
                  <c:v>91.55758562597363</c:v>
                </c:pt>
                <c:pt idx="344">
                  <c:v>91.457491876193899</c:v>
                </c:pt>
                <c:pt idx="345">
                  <c:v>92.495083423206253</c:v>
                </c:pt>
                <c:pt idx="346">
                  <c:v>90.843888994621722</c:v>
                </c:pt>
                <c:pt idx="347">
                  <c:v>89.604700176926286</c:v>
                </c:pt>
                <c:pt idx="348">
                  <c:v>93.695855977782003</c:v>
                </c:pt>
                <c:pt idx="349">
                  <c:v>96.679989003785252</c:v>
                </c:pt>
                <c:pt idx="350">
                  <c:v>99.546758583743937</c:v>
                </c:pt>
                <c:pt idx="351">
                  <c:v>97.975216223646086</c:v>
                </c:pt>
                <c:pt idx="352">
                  <c:v>98.834471723515705</c:v>
                </c:pt>
                <c:pt idx="353">
                  <c:v>100.58047326016622</c:v>
                </c:pt>
                <c:pt idx="354">
                  <c:v>102.00645675174638</c:v>
                </c:pt>
                <c:pt idx="355">
                  <c:v>99.469573614723643</c:v>
                </c:pt>
                <c:pt idx="356">
                  <c:v>100.66928884095667</c:v>
                </c:pt>
                <c:pt idx="357">
                  <c:v>97.008465675597563</c:v>
                </c:pt>
                <c:pt idx="358">
                  <c:v>98.425285654873946</c:v>
                </c:pt>
                <c:pt idx="359">
                  <c:v>100.22626826534713</c:v>
                </c:pt>
                <c:pt idx="360">
                  <c:v>100.30662521939564</c:v>
                </c:pt>
                <c:pt idx="361">
                  <c:v>99.112549077657249</c:v>
                </c:pt>
                <c:pt idx="362">
                  <c:v>97.143098817906917</c:v>
                </c:pt>
                <c:pt idx="363">
                  <c:v>96.48332593203493</c:v>
                </c:pt>
                <c:pt idx="364">
                  <c:v>97.955831870695803</c:v>
                </c:pt>
                <c:pt idx="365">
                  <c:v>95.980390083669931</c:v>
                </c:pt>
                <c:pt idx="366">
                  <c:v>94.574848273382827</c:v>
                </c:pt>
                <c:pt idx="367">
                  <c:v>94.784199285246046</c:v>
                </c:pt>
                <c:pt idx="368">
                  <c:v>91.993557345964888</c:v>
                </c:pt>
                <c:pt idx="369">
                  <c:v>90.480872930279787</c:v>
                </c:pt>
                <c:pt idx="370">
                  <c:v>90.592597291829662</c:v>
                </c:pt>
                <c:pt idx="371">
                  <c:v>92.024572310685372</c:v>
                </c:pt>
                <c:pt idx="372">
                  <c:v>92.15779568187105</c:v>
                </c:pt>
                <c:pt idx="373">
                  <c:v>92.451028075591935</c:v>
                </c:pt>
                <c:pt idx="374">
                  <c:v>91.178357193709616</c:v>
                </c:pt>
                <c:pt idx="375">
                  <c:v>87.192229341566403</c:v>
                </c:pt>
                <c:pt idx="376">
                  <c:v>89.434117870963661</c:v>
                </c:pt>
                <c:pt idx="377">
                  <c:v>93.882298208885786</c:v>
                </c:pt>
                <c:pt idx="378">
                  <c:v>95.452783240640883</c:v>
                </c:pt>
                <c:pt idx="379">
                  <c:v>97.107854539815477</c:v>
                </c:pt>
                <c:pt idx="380">
                  <c:v>95.855272896445271</c:v>
                </c:pt>
                <c:pt idx="381">
                  <c:v>93.803351025960936</c:v>
                </c:pt>
                <c:pt idx="382">
                  <c:v>94.574848273382827</c:v>
                </c:pt>
                <c:pt idx="383">
                  <c:v>94.881473492778454</c:v>
                </c:pt>
                <c:pt idx="384">
                  <c:v>98.218754185258035</c:v>
                </c:pt>
                <c:pt idx="385">
                  <c:v>99.613722712117692</c:v>
                </c:pt>
                <c:pt idx="386">
                  <c:v>97.707359710151053</c:v>
                </c:pt>
                <c:pt idx="387">
                  <c:v>100.00528664171372</c:v>
                </c:pt>
                <c:pt idx="388">
                  <c:v>101.77877871527559</c:v>
                </c:pt>
                <c:pt idx="389">
                  <c:v>100.95793947852567</c:v>
                </c:pt>
                <c:pt idx="390">
                  <c:v>100.90331084748392</c:v>
                </c:pt>
                <c:pt idx="391">
                  <c:v>102.45793595409786</c:v>
                </c:pt>
                <c:pt idx="392">
                  <c:v>101.83375978909825</c:v>
                </c:pt>
                <c:pt idx="393">
                  <c:v>102.47027145142987</c:v>
                </c:pt>
                <c:pt idx="394">
                  <c:v>104.85771884934481</c:v>
                </c:pt>
                <c:pt idx="395">
                  <c:v>102.67363093601753</c:v>
                </c:pt>
                <c:pt idx="396">
                  <c:v>101.36571577604376</c:v>
                </c:pt>
                <c:pt idx="397">
                  <c:v>104.83516251136629</c:v>
                </c:pt>
                <c:pt idx="398">
                  <c:v>105.93020223166769</c:v>
                </c:pt>
                <c:pt idx="399">
                  <c:v>106.64002199242955</c:v>
                </c:pt>
                <c:pt idx="400">
                  <c:v>108.54391789492976</c:v>
                </c:pt>
                <c:pt idx="401">
                  <c:v>103.90471356975195</c:v>
                </c:pt>
                <c:pt idx="402">
                  <c:v>102.52877695306168</c:v>
                </c:pt>
                <c:pt idx="403">
                  <c:v>99.775846391338376</c:v>
                </c:pt>
                <c:pt idx="404">
                  <c:v>96.42482043040313</c:v>
                </c:pt>
                <c:pt idx="405">
                  <c:v>97.150500116306119</c:v>
                </c:pt>
                <c:pt idx="406">
                  <c:v>96.080836276230556</c:v>
                </c:pt>
                <c:pt idx="407">
                  <c:v>95.155321533549028</c:v>
                </c:pt>
                <c:pt idx="408">
                  <c:v>98.98989898989899</c:v>
                </c:pt>
                <c:pt idx="409">
                  <c:v>95.805578464336321</c:v>
                </c:pt>
                <c:pt idx="410">
                  <c:v>95.631471730564542</c:v>
                </c:pt>
                <c:pt idx="411">
                  <c:v>97.517040608457222</c:v>
                </c:pt>
                <c:pt idx="412">
                  <c:v>97.669648332593212</c:v>
                </c:pt>
                <c:pt idx="413">
                  <c:v>96.000126879401137</c:v>
                </c:pt>
                <c:pt idx="414">
                  <c:v>90.411441702439618</c:v>
                </c:pt>
                <c:pt idx="415">
                  <c:v>90.781154179618937</c:v>
                </c:pt>
                <c:pt idx="416">
                  <c:v>91.435287980996293</c:v>
                </c:pt>
                <c:pt idx="417">
                  <c:v>92.641699620066689</c:v>
                </c:pt>
                <c:pt idx="418">
                  <c:v>94.140991210077047</c:v>
                </c:pt>
                <c:pt idx="419">
                  <c:v>94.55546392043253</c:v>
                </c:pt>
                <c:pt idx="420">
                  <c:v>97.457830221263592</c:v>
                </c:pt>
                <c:pt idx="421">
                  <c:v>93.359625564789553</c:v>
                </c:pt>
                <c:pt idx="422">
                  <c:v>94.674589580381635</c:v>
                </c:pt>
                <c:pt idx="423">
                  <c:v>96.530905707458402</c:v>
                </c:pt>
                <c:pt idx="424">
                  <c:v>96.589411209090215</c:v>
                </c:pt>
                <c:pt idx="425">
                  <c:v>97.346105859713688</c:v>
                </c:pt>
                <c:pt idx="426">
                  <c:v>94.312630844382412</c:v>
                </c:pt>
                <c:pt idx="427">
                  <c:v>90.994734504853142</c:v>
                </c:pt>
                <c:pt idx="428">
                  <c:v>94.287959849718391</c:v>
                </c:pt>
                <c:pt idx="429">
                  <c:v>92.622315267116377</c:v>
                </c:pt>
                <c:pt idx="430">
                  <c:v>98.44361267948149</c:v>
                </c:pt>
                <c:pt idx="431">
                  <c:v>105.97707712152933</c:v>
                </c:pt>
                <c:pt idx="432">
                  <c:v>107.14225295523275</c:v>
                </c:pt>
                <c:pt idx="433">
                  <c:v>108.42655444888523</c:v>
                </c:pt>
                <c:pt idx="434">
                  <c:v>107.18630830284705</c:v>
                </c:pt>
                <c:pt idx="435">
                  <c:v>106.20052584462914</c:v>
                </c:pt>
                <c:pt idx="436">
                  <c:v>107.15917020871663</c:v>
                </c:pt>
                <c:pt idx="437">
                  <c:v>106.11629201999058</c:v>
                </c:pt>
                <c:pt idx="438">
                  <c:v>102.40683175086525</c:v>
                </c:pt>
                <c:pt idx="439">
                  <c:v>100.97450428922865</c:v>
                </c:pt>
                <c:pt idx="440">
                  <c:v>100.83705160467198</c:v>
                </c:pt>
                <c:pt idx="441">
                  <c:v>99.577773548464407</c:v>
                </c:pt>
                <c:pt idx="442">
                  <c:v>99.450189261773346</c:v>
                </c:pt>
                <c:pt idx="443">
                  <c:v>96.957713915145874</c:v>
                </c:pt>
                <c:pt idx="444">
                  <c:v>93.320856858888973</c:v>
                </c:pt>
                <c:pt idx="445">
                  <c:v>94.494138876553407</c:v>
                </c:pt>
                <c:pt idx="446">
                  <c:v>91.729225260279009</c:v>
                </c:pt>
                <c:pt idx="447">
                  <c:v>89.87149936207858</c:v>
                </c:pt>
                <c:pt idx="448">
                  <c:v>88.672489021407372</c:v>
                </c:pt>
                <c:pt idx="449">
                  <c:v>87.472068909612517</c:v>
                </c:pt>
                <c:pt idx="450">
                  <c:v>82.1188155103019</c:v>
                </c:pt>
                <c:pt idx="451">
                  <c:v>80.866586309712616</c:v>
                </c:pt>
                <c:pt idx="452">
                  <c:v>76.498058040277158</c:v>
                </c:pt>
                <c:pt idx="453">
                  <c:v>78.057969788604836</c:v>
                </c:pt>
                <c:pt idx="454">
                  <c:v>80.300915646344833</c:v>
                </c:pt>
                <c:pt idx="455">
                  <c:v>77.212107114409974</c:v>
                </c:pt>
                <c:pt idx="456">
                  <c:v>78.890439637124928</c:v>
                </c:pt>
                <c:pt idx="457">
                  <c:v>84.198227917697565</c:v>
                </c:pt>
                <c:pt idx="458">
                  <c:v>84.178491121966346</c:v>
                </c:pt>
                <c:pt idx="459">
                  <c:v>84.586972305046288</c:v>
                </c:pt>
                <c:pt idx="460">
                  <c:v>82.175206355248235</c:v>
                </c:pt>
                <c:pt idx="461">
                  <c:v>83.106360182424382</c:v>
                </c:pt>
                <c:pt idx="462">
                  <c:v>80.722437212318582</c:v>
                </c:pt>
                <c:pt idx="463">
                  <c:v>83.027060556718624</c:v>
                </c:pt>
                <c:pt idx="464">
                  <c:v>80.411582679551984</c:v>
                </c:pt>
                <c:pt idx="465">
                  <c:v>79.823003235424736</c:v>
                </c:pt>
                <c:pt idx="466">
                  <c:v>76.642207137671207</c:v>
                </c:pt>
                <c:pt idx="467">
                  <c:v>77.5137981348728</c:v>
                </c:pt>
                <c:pt idx="468">
                  <c:v>78.756863823158312</c:v>
                </c:pt>
                <c:pt idx="469">
                  <c:v>77.890911910451337</c:v>
                </c:pt>
                <c:pt idx="470">
                  <c:v>72.215878252165766</c:v>
                </c:pt>
                <c:pt idx="471">
                  <c:v>68.022866487625734</c:v>
                </c:pt>
                <c:pt idx="472">
                  <c:v>67.75078066075973</c:v>
                </c:pt>
                <c:pt idx="473">
                  <c:v>70.07725545757647</c:v>
                </c:pt>
                <c:pt idx="474">
                  <c:v>68.991379249578841</c:v>
                </c:pt>
                <c:pt idx="475">
                  <c:v>65.253018672418534</c:v>
                </c:pt>
                <c:pt idx="476">
                  <c:v>68.91454672333947</c:v>
                </c:pt>
                <c:pt idx="477">
                  <c:v>68.800707705104074</c:v>
                </c:pt>
                <c:pt idx="478">
                  <c:v>74.836642771046129</c:v>
                </c:pt>
                <c:pt idx="479">
                  <c:v>75.728323006759851</c:v>
                </c:pt>
                <c:pt idx="480">
                  <c:v>77.937434357532055</c:v>
                </c:pt>
                <c:pt idx="481">
                  <c:v>76.65101820719407</c:v>
                </c:pt>
                <c:pt idx="482">
                  <c:v>78.015324212114166</c:v>
                </c:pt>
                <c:pt idx="483">
                  <c:v>77.433088738043381</c:v>
                </c:pt>
                <c:pt idx="484">
                  <c:v>81.198939852115018</c:v>
                </c:pt>
                <c:pt idx="485">
                  <c:v>80.849316613447812</c:v>
                </c:pt>
                <c:pt idx="486">
                  <c:v>80.530003453939258</c:v>
                </c:pt>
                <c:pt idx="487">
                  <c:v>77.153601612778161</c:v>
                </c:pt>
                <c:pt idx="488">
                  <c:v>76.601676217866029</c:v>
                </c:pt>
                <c:pt idx="489">
                  <c:v>75.61871330189544</c:v>
                </c:pt>
                <c:pt idx="490">
                  <c:v>77.829586866572214</c:v>
                </c:pt>
                <c:pt idx="491">
                  <c:v>78.406535698929289</c:v>
                </c:pt>
                <c:pt idx="492">
                  <c:v>78.501695249776205</c:v>
                </c:pt>
                <c:pt idx="493">
                  <c:v>77.01473915709785</c:v>
                </c:pt>
                <c:pt idx="494">
                  <c:v>77.306914222475982</c:v>
                </c:pt>
                <c:pt idx="495">
                  <c:v>80.28364595008</c:v>
                </c:pt>
                <c:pt idx="496">
                  <c:v>79.784234529524127</c:v>
                </c:pt>
                <c:pt idx="497">
                  <c:v>83.259672792122203</c:v>
                </c:pt>
                <c:pt idx="498">
                  <c:v>83.746043829784242</c:v>
                </c:pt>
                <c:pt idx="499">
                  <c:v>83.71714352174925</c:v>
                </c:pt>
                <c:pt idx="500">
                  <c:v>84.94011997152262</c:v>
                </c:pt>
                <c:pt idx="501">
                  <c:v>87.722303284061837</c:v>
                </c:pt>
                <c:pt idx="502">
                  <c:v>88.359519831955282</c:v>
                </c:pt>
                <c:pt idx="503">
                  <c:v>87.472421352393454</c:v>
                </c:pt>
                <c:pt idx="504">
                  <c:v>88.689406274891283</c:v>
                </c:pt>
                <c:pt idx="505">
                  <c:v>90.149929159001047</c:v>
                </c:pt>
                <c:pt idx="506">
                  <c:v>88.093777975145741</c:v>
                </c:pt>
                <c:pt idx="507">
                  <c:v>90.674716459782758</c:v>
                </c:pt>
                <c:pt idx="508">
                  <c:v>88.867037436472188</c:v>
                </c:pt>
                <c:pt idx="509">
                  <c:v>91.04301916583843</c:v>
                </c:pt>
                <c:pt idx="510">
                  <c:v>89.488041616443567</c:v>
                </c:pt>
                <c:pt idx="511">
                  <c:v>90.949974271676993</c:v>
                </c:pt>
                <c:pt idx="512">
                  <c:v>89.709375682857896</c:v>
                </c:pt>
                <c:pt idx="513">
                  <c:v>86.921200843043138</c:v>
                </c:pt>
                <c:pt idx="514">
                  <c:v>84.221136698457016</c:v>
                </c:pt>
                <c:pt idx="515">
                  <c:v>84.154877455645078</c:v>
                </c:pt>
                <c:pt idx="516">
                  <c:v>85.670381413577516</c:v>
                </c:pt>
              </c:numCache>
            </c:numRef>
          </c:val>
          <c:smooth val="0"/>
        </c:ser>
        <c:ser>
          <c:idx val="3"/>
          <c:order val="3"/>
          <c:tx>
            <c:strRef>
              <c:f>[DATA.xlsx]Sheet1!$AC$3</c:f>
              <c:strCache>
                <c:ptCount val="1"/>
                <c:pt idx="0">
                  <c:v>AAPL US Equity</c:v>
                </c:pt>
              </c:strCache>
            </c:strRef>
          </c:tx>
          <c:marker>
            <c:symbol val="none"/>
          </c:marker>
          <c:cat>
            <c:numRef>
              <c:f>[DATA.xlsx]Sheet1!$Y$4:$Y$520</c:f>
              <c:numCache>
                <c:formatCode>m/d/yyyy</c:formatCode>
                <c:ptCount val="517"/>
                <c:pt idx="0">
                  <c:v>39087</c:v>
                </c:pt>
                <c:pt idx="1">
                  <c:v>39094</c:v>
                </c:pt>
                <c:pt idx="2">
                  <c:v>39101</c:v>
                </c:pt>
                <c:pt idx="3">
                  <c:v>39108</c:v>
                </c:pt>
                <c:pt idx="4">
                  <c:v>39115</c:v>
                </c:pt>
                <c:pt idx="5">
                  <c:v>39122</c:v>
                </c:pt>
                <c:pt idx="6">
                  <c:v>39129</c:v>
                </c:pt>
                <c:pt idx="7">
                  <c:v>39136</c:v>
                </c:pt>
                <c:pt idx="8">
                  <c:v>39143</c:v>
                </c:pt>
                <c:pt idx="9">
                  <c:v>39150</c:v>
                </c:pt>
                <c:pt idx="10">
                  <c:v>39157</c:v>
                </c:pt>
                <c:pt idx="11">
                  <c:v>39164</c:v>
                </c:pt>
                <c:pt idx="12">
                  <c:v>39171</c:v>
                </c:pt>
                <c:pt idx="13">
                  <c:v>39178</c:v>
                </c:pt>
                <c:pt idx="14">
                  <c:v>39185</c:v>
                </c:pt>
                <c:pt idx="15">
                  <c:v>39192</c:v>
                </c:pt>
                <c:pt idx="16">
                  <c:v>39199</c:v>
                </c:pt>
                <c:pt idx="17">
                  <c:v>39206</c:v>
                </c:pt>
                <c:pt idx="18">
                  <c:v>39213</c:v>
                </c:pt>
                <c:pt idx="19">
                  <c:v>39220</c:v>
                </c:pt>
                <c:pt idx="20">
                  <c:v>39227</c:v>
                </c:pt>
                <c:pt idx="21">
                  <c:v>39234</c:v>
                </c:pt>
                <c:pt idx="22">
                  <c:v>39241</c:v>
                </c:pt>
                <c:pt idx="23">
                  <c:v>39248</c:v>
                </c:pt>
                <c:pt idx="24">
                  <c:v>39255</c:v>
                </c:pt>
                <c:pt idx="25">
                  <c:v>39262</c:v>
                </c:pt>
                <c:pt idx="26">
                  <c:v>39269</c:v>
                </c:pt>
                <c:pt idx="27">
                  <c:v>39276</c:v>
                </c:pt>
                <c:pt idx="28">
                  <c:v>39283</c:v>
                </c:pt>
                <c:pt idx="29">
                  <c:v>39290</c:v>
                </c:pt>
                <c:pt idx="30">
                  <c:v>39297</c:v>
                </c:pt>
                <c:pt idx="31">
                  <c:v>39304</c:v>
                </c:pt>
                <c:pt idx="32">
                  <c:v>39311</c:v>
                </c:pt>
                <c:pt idx="33">
                  <c:v>39318</c:v>
                </c:pt>
                <c:pt idx="34">
                  <c:v>39325</c:v>
                </c:pt>
                <c:pt idx="35">
                  <c:v>39332</c:v>
                </c:pt>
                <c:pt idx="36">
                  <c:v>39339</c:v>
                </c:pt>
                <c:pt idx="37">
                  <c:v>39346</c:v>
                </c:pt>
                <c:pt idx="38">
                  <c:v>39353</c:v>
                </c:pt>
                <c:pt idx="39">
                  <c:v>39360</c:v>
                </c:pt>
                <c:pt idx="40">
                  <c:v>39367</c:v>
                </c:pt>
                <c:pt idx="41">
                  <c:v>39374</c:v>
                </c:pt>
                <c:pt idx="42">
                  <c:v>39381</c:v>
                </c:pt>
                <c:pt idx="43">
                  <c:v>39388</c:v>
                </c:pt>
                <c:pt idx="44">
                  <c:v>39395</c:v>
                </c:pt>
                <c:pt idx="45">
                  <c:v>39402</c:v>
                </c:pt>
                <c:pt idx="46">
                  <c:v>39409</c:v>
                </c:pt>
                <c:pt idx="47">
                  <c:v>39416</c:v>
                </c:pt>
                <c:pt idx="48">
                  <c:v>39423</c:v>
                </c:pt>
                <c:pt idx="49">
                  <c:v>39430</c:v>
                </c:pt>
                <c:pt idx="50">
                  <c:v>39437</c:v>
                </c:pt>
                <c:pt idx="51">
                  <c:v>39444</c:v>
                </c:pt>
                <c:pt idx="52">
                  <c:v>39451</c:v>
                </c:pt>
                <c:pt idx="53">
                  <c:v>39458</c:v>
                </c:pt>
                <c:pt idx="54">
                  <c:v>39465</c:v>
                </c:pt>
                <c:pt idx="55">
                  <c:v>39472</c:v>
                </c:pt>
                <c:pt idx="56">
                  <c:v>39479</c:v>
                </c:pt>
                <c:pt idx="57">
                  <c:v>39486</c:v>
                </c:pt>
                <c:pt idx="58">
                  <c:v>39493</c:v>
                </c:pt>
                <c:pt idx="59">
                  <c:v>39500</c:v>
                </c:pt>
                <c:pt idx="60">
                  <c:v>39507</c:v>
                </c:pt>
                <c:pt idx="61">
                  <c:v>39514</c:v>
                </c:pt>
                <c:pt idx="62">
                  <c:v>39521</c:v>
                </c:pt>
                <c:pt idx="63">
                  <c:v>39528</c:v>
                </c:pt>
                <c:pt idx="64">
                  <c:v>39535</c:v>
                </c:pt>
                <c:pt idx="65">
                  <c:v>39542</c:v>
                </c:pt>
                <c:pt idx="66">
                  <c:v>39549</c:v>
                </c:pt>
                <c:pt idx="67">
                  <c:v>39556</c:v>
                </c:pt>
                <c:pt idx="68">
                  <c:v>39563</c:v>
                </c:pt>
                <c:pt idx="69">
                  <c:v>39570</c:v>
                </c:pt>
                <c:pt idx="70">
                  <c:v>39577</c:v>
                </c:pt>
                <c:pt idx="71">
                  <c:v>39584</c:v>
                </c:pt>
                <c:pt idx="72">
                  <c:v>39591</c:v>
                </c:pt>
                <c:pt idx="73">
                  <c:v>39598</c:v>
                </c:pt>
                <c:pt idx="74">
                  <c:v>39605</c:v>
                </c:pt>
                <c:pt idx="75">
                  <c:v>39612</c:v>
                </c:pt>
                <c:pt idx="76">
                  <c:v>39619</c:v>
                </c:pt>
                <c:pt idx="77">
                  <c:v>39626</c:v>
                </c:pt>
                <c:pt idx="78">
                  <c:v>39633</c:v>
                </c:pt>
                <c:pt idx="79">
                  <c:v>39640</c:v>
                </c:pt>
                <c:pt idx="80">
                  <c:v>39647</c:v>
                </c:pt>
                <c:pt idx="81">
                  <c:v>39654</c:v>
                </c:pt>
                <c:pt idx="82">
                  <c:v>39661</c:v>
                </c:pt>
                <c:pt idx="83">
                  <c:v>39668</c:v>
                </c:pt>
                <c:pt idx="84">
                  <c:v>39675</c:v>
                </c:pt>
                <c:pt idx="85">
                  <c:v>39682</c:v>
                </c:pt>
                <c:pt idx="86">
                  <c:v>39689</c:v>
                </c:pt>
                <c:pt idx="87">
                  <c:v>39696</c:v>
                </c:pt>
                <c:pt idx="88">
                  <c:v>39703</c:v>
                </c:pt>
                <c:pt idx="89">
                  <c:v>39710</c:v>
                </c:pt>
                <c:pt idx="90">
                  <c:v>39717</c:v>
                </c:pt>
                <c:pt idx="91">
                  <c:v>39724</c:v>
                </c:pt>
                <c:pt idx="92">
                  <c:v>39731</c:v>
                </c:pt>
                <c:pt idx="93">
                  <c:v>39738</c:v>
                </c:pt>
                <c:pt idx="94">
                  <c:v>39745</c:v>
                </c:pt>
                <c:pt idx="95">
                  <c:v>39752</c:v>
                </c:pt>
                <c:pt idx="96">
                  <c:v>39759</c:v>
                </c:pt>
                <c:pt idx="97">
                  <c:v>39766</c:v>
                </c:pt>
                <c:pt idx="98">
                  <c:v>39773</c:v>
                </c:pt>
                <c:pt idx="99">
                  <c:v>39780</c:v>
                </c:pt>
                <c:pt idx="100">
                  <c:v>39787</c:v>
                </c:pt>
                <c:pt idx="101">
                  <c:v>39794</c:v>
                </c:pt>
                <c:pt idx="102">
                  <c:v>39801</c:v>
                </c:pt>
                <c:pt idx="103">
                  <c:v>39808</c:v>
                </c:pt>
                <c:pt idx="104">
                  <c:v>39815</c:v>
                </c:pt>
                <c:pt idx="105">
                  <c:v>39822</c:v>
                </c:pt>
                <c:pt idx="106">
                  <c:v>39829</c:v>
                </c:pt>
                <c:pt idx="107">
                  <c:v>39836</c:v>
                </c:pt>
                <c:pt idx="108">
                  <c:v>39843</c:v>
                </c:pt>
                <c:pt idx="109">
                  <c:v>39850</c:v>
                </c:pt>
                <c:pt idx="110">
                  <c:v>39857</c:v>
                </c:pt>
                <c:pt idx="111">
                  <c:v>39864</c:v>
                </c:pt>
                <c:pt idx="112">
                  <c:v>39871</c:v>
                </c:pt>
                <c:pt idx="113">
                  <c:v>39878</c:v>
                </c:pt>
                <c:pt idx="114">
                  <c:v>39885</c:v>
                </c:pt>
                <c:pt idx="115">
                  <c:v>39892</c:v>
                </c:pt>
                <c:pt idx="116">
                  <c:v>39899</c:v>
                </c:pt>
                <c:pt idx="117">
                  <c:v>39906</c:v>
                </c:pt>
                <c:pt idx="118">
                  <c:v>39913</c:v>
                </c:pt>
                <c:pt idx="119">
                  <c:v>39920</c:v>
                </c:pt>
                <c:pt idx="120">
                  <c:v>39927</c:v>
                </c:pt>
                <c:pt idx="121">
                  <c:v>39934</c:v>
                </c:pt>
                <c:pt idx="122">
                  <c:v>39941</c:v>
                </c:pt>
                <c:pt idx="123">
                  <c:v>39948</c:v>
                </c:pt>
                <c:pt idx="124">
                  <c:v>39955</c:v>
                </c:pt>
                <c:pt idx="125">
                  <c:v>39962</c:v>
                </c:pt>
                <c:pt idx="126">
                  <c:v>39969</c:v>
                </c:pt>
                <c:pt idx="127">
                  <c:v>39976</c:v>
                </c:pt>
                <c:pt idx="128">
                  <c:v>39983</c:v>
                </c:pt>
                <c:pt idx="129">
                  <c:v>39990</c:v>
                </c:pt>
                <c:pt idx="130">
                  <c:v>39997</c:v>
                </c:pt>
                <c:pt idx="131">
                  <c:v>40004</c:v>
                </c:pt>
                <c:pt idx="132">
                  <c:v>40011</c:v>
                </c:pt>
                <c:pt idx="133">
                  <c:v>40018</c:v>
                </c:pt>
                <c:pt idx="134">
                  <c:v>40025</c:v>
                </c:pt>
                <c:pt idx="135">
                  <c:v>40032</c:v>
                </c:pt>
                <c:pt idx="136">
                  <c:v>40039</c:v>
                </c:pt>
                <c:pt idx="137">
                  <c:v>40046</c:v>
                </c:pt>
                <c:pt idx="138">
                  <c:v>40053</c:v>
                </c:pt>
                <c:pt idx="139">
                  <c:v>40060</c:v>
                </c:pt>
                <c:pt idx="140">
                  <c:v>40067</c:v>
                </c:pt>
                <c:pt idx="141">
                  <c:v>40074</c:v>
                </c:pt>
                <c:pt idx="142">
                  <c:v>40081</c:v>
                </c:pt>
                <c:pt idx="143">
                  <c:v>40088</c:v>
                </c:pt>
                <c:pt idx="144">
                  <c:v>40095</c:v>
                </c:pt>
                <c:pt idx="145">
                  <c:v>40102</c:v>
                </c:pt>
                <c:pt idx="146">
                  <c:v>40109</c:v>
                </c:pt>
                <c:pt idx="147">
                  <c:v>40116</c:v>
                </c:pt>
                <c:pt idx="148">
                  <c:v>40123</c:v>
                </c:pt>
                <c:pt idx="149">
                  <c:v>40130</c:v>
                </c:pt>
                <c:pt idx="150">
                  <c:v>40137</c:v>
                </c:pt>
                <c:pt idx="151">
                  <c:v>40144</c:v>
                </c:pt>
                <c:pt idx="152">
                  <c:v>40151</c:v>
                </c:pt>
                <c:pt idx="153">
                  <c:v>40158</c:v>
                </c:pt>
                <c:pt idx="154">
                  <c:v>40165</c:v>
                </c:pt>
                <c:pt idx="155">
                  <c:v>40172</c:v>
                </c:pt>
                <c:pt idx="156">
                  <c:v>40179</c:v>
                </c:pt>
                <c:pt idx="157">
                  <c:v>40186</c:v>
                </c:pt>
                <c:pt idx="158">
                  <c:v>40193</c:v>
                </c:pt>
                <c:pt idx="159">
                  <c:v>40200</c:v>
                </c:pt>
                <c:pt idx="160">
                  <c:v>40207</c:v>
                </c:pt>
                <c:pt idx="161">
                  <c:v>40214</c:v>
                </c:pt>
                <c:pt idx="162">
                  <c:v>40221</c:v>
                </c:pt>
                <c:pt idx="163">
                  <c:v>40228</c:v>
                </c:pt>
                <c:pt idx="164">
                  <c:v>40235</c:v>
                </c:pt>
                <c:pt idx="165">
                  <c:v>40242</c:v>
                </c:pt>
                <c:pt idx="166">
                  <c:v>40249</c:v>
                </c:pt>
                <c:pt idx="167">
                  <c:v>40256</c:v>
                </c:pt>
                <c:pt idx="168">
                  <c:v>40263</c:v>
                </c:pt>
                <c:pt idx="169">
                  <c:v>40270</c:v>
                </c:pt>
                <c:pt idx="170">
                  <c:v>40277</c:v>
                </c:pt>
                <c:pt idx="171">
                  <c:v>40284</c:v>
                </c:pt>
                <c:pt idx="172">
                  <c:v>40291</c:v>
                </c:pt>
                <c:pt idx="173">
                  <c:v>40298</c:v>
                </c:pt>
                <c:pt idx="174">
                  <c:v>40305</c:v>
                </c:pt>
                <c:pt idx="175">
                  <c:v>40312</c:v>
                </c:pt>
                <c:pt idx="176">
                  <c:v>40319</c:v>
                </c:pt>
                <c:pt idx="177">
                  <c:v>40326</c:v>
                </c:pt>
                <c:pt idx="178">
                  <c:v>40333</c:v>
                </c:pt>
                <c:pt idx="179">
                  <c:v>40340</c:v>
                </c:pt>
                <c:pt idx="180">
                  <c:v>40347</c:v>
                </c:pt>
                <c:pt idx="181">
                  <c:v>40354</c:v>
                </c:pt>
                <c:pt idx="182">
                  <c:v>40361</c:v>
                </c:pt>
                <c:pt idx="183">
                  <c:v>40368</c:v>
                </c:pt>
                <c:pt idx="184">
                  <c:v>40375</c:v>
                </c:pt>
                <c:pt idx="185">
                  <c:v>40382</c:v>
                </c:pt>
                <c:pt idx="186">
                  <c:v>40389</c:v>
                </c:pt>
                <c:pt idx="187">
                  <c:v>40396</c:v>
                </c:pt>
                <c:pt idx="188">
                  <c:v>40403</c:v>
                </c:pt>
                <c:pt idx="189">
                  <c:v>40410</c:v>
                </c:pt>
                <c:pt idx="190">
                  <c:v>40417</c:v>
                </c:pt>
                <c:pt idx="191">
                  <c:v>40424</c:v>
                </c:pt>
                <c:pt idx="192">
                  <c:v>40431</c:v>
                </c:pt>
                <c:pt idx="193">
                  <c:v>40438</c:v>
                </c:pt>
                <c:pt idx="194">
                  <c:v>40445</c:v>
                </c:pt>
                <c:pt idx="195">
                  <c:v>40452</c:v>
                </c:pt>
                <c:pt idx="196">
                  <c:v>40459</c:v>
                </c:pt>
                <c:pt idx="197">
                  <c:v>40466</c:v>
                </c:pt>
                <c:pt idx="198">
                  <c:v>40473</c:v>
                </c:pt>
                <c:pt idx="199">
                  <c:v>40480</c:v>
                </c:pt>
                <c:pt idx="200">
                  <c:v>40487</c:v>
                </c:pt>
                <c:pt idx="201">
                  <c:v>40494</c:v>
                </c:pt>
                <c:pt idx="202">
                  <c:v>40501</c:v>
                </c:pt>
                <c:pt idx="203">
                  <c:v>40508</c:v>
                </c:pt>
                <c:pt idx="204">
                  <c:v>40515</c:v>
                </c:pt>
                <c:pt idx="205">
                  <c:v>40522</c:v>
                </c:pt>
                <c:pt idx="206">
                  <c:v>40529</c:v>
                </c:pt>
                <c:pt idx="207">
                  <c:v>40536</c:v>
                </c:pt>
                <c:pt idx="208">
                  <c:v>40543</c:v>
                </c:pt>
                <c:pt idx="209">
                  <c:v>40550</c:v>
                </c:pt>
                <c:pt idx="210">
                  <c:v>40557</c:v>
                </c:pt>
                <c:pt idx="211">
                  <c:v>40564</c:v>
                </c:pt>
                <c:pt idx="212">
                  <c:v>40571</c:v>
                </c:pt>
                <c:pt idx="213">
                  <c:v>40578</c:v>
                </c:pt>
                <c:pt idx="214">
                  <c:v>40585</c:v>
                </c:pt>
                <c:pt idx="215">
                  <c:v>40592</c:v>
                </c:pt>
                <c:pt idx="216">
                  <c:v>40599</c:v>
                </c:pt>
                <c:pt idx="217">
                  <c:v>40606</c:v>
                </c:pt>
                <c:pt idx="218">
                  <c:v>40613</c:v>
                </c:pt>
                <c:pt idx="219">
                  <c:v>40620</c:v>
                </c:pt>
                <c:pt idx="220">
                  <c:v>40627</c:v>
                </c:pt>
                <c:pt idx="221">
                  <c:v>40634</c:v>
                </c:pt>
                <c:pt idx="222">
                  <c:v>40641</c:v>
                </c:pt>
                <c:pt idx="223">
                  <c:v>40648</c:v>
                </c:pt>
                <c:pt idx="224">
                  <c:v>40655</c:v>
                </c:pt>
                <c:pt idx="225">
                  <c:v>40662</c:v>
                </c:pt>
                <c:pt idx="226">
                  <c:v>40669</c:v>
                </c:pt>
                <c:pt idx="227">
                  <c:v>40676</c:v>
                </c:pt>
                <c:pt idx="228">
                  <c:v>40683</c:v>
                </c:pt>
                <c:pt idx="229">
                  <c:v>40690</c:v>
                </c:pt>
                <c:pt idx="230">
                  <c:v>40697</c:v>
                </c:pt>
                <c:pt idx="231">
                  <c:v>40704</c:v>
                </c:pt>
                <c:pt idx="232">
                  <c:v>40711</c:v>
                </c:pt>
                <c:pt idx="233">
                  <c:v>40718</c:v>
                </c:pt>
                <c:pt idx="234">
                  <c:v>40725</c:v>
                </c:pt>
                <c:pt idx="235">
                  <c:v>40732</c:v>
                </c:pt>
                <c:pt idx="236">
                  <c:v>40739</c:v>
                </c:pt>
                <c:pt idx="237">
                  <c:v>40746</c:v>
                </c:pt>
                <c:pt idx="238">
                  <c:v>40753</c:v>
                </c:pt>
                <c:pt idx="239">
                  <c:v>40760</c:v>
                </c:pt>
                <c:pt idx="240">
                  <c:v>40767</c:v>
                </c:pt>
                <c:pt idx="241">
                  <c:v>40774</c:v>
                </c:pt>
                <c:pt idx="242">
                  <c:v>40781</c:v>
                </c:pt>
                <c:pt idx="243">
                  <c:v>40788</c:v>
                </c:pt>
                <c:pt idx="244">
                  <c:v>40795</c:v>
                </c:pt>
                <c:pt idx="245">
                  <c:v>40802</c:v>
                </c:pt>
                <c:pt idx="246">
                  <c:v>40809</c:v>
                </c:pt>
                <c:pt idx="247">
                  <c:v>40816</c:v>
                </c:pt>
                <c:pt idx="248">
                  <c:v>40823</c:v>
                </c:pt>
                <c:pt idx="249">
                  <c:v>40830</c:v>
                </c:pt>
                <c:pt idx="250">
                  <c:v>40837</c:v>
                </c:pt>
                <c:pt idx="251">
                  <c:v>40844</c:v>
                </c:pt>
                <c:pt idx="252">
                  <c:v>40851</c:v>
                </c:pt>
                <c:pt idx="253">
                  <c:v>40858</c:v>
                </c:pt>
                <c:pt idx="254">
                  <c:v>40865</c:v>
                </c:pt>
                <c:pt idx="255">
                  <c:v>40872</c:v>
                </c:pt>
                <c:pt idx="256">
                  <c:v>40879</c:v>
                </c:pt>
                <c:pt idx="257">
                  <c:v>40886</c:v>
                </c:pt>
                <c:pt idx="258">
                  <c:v>40893</c:v>
                </c:pt>
                <c:pt idx="259">
                  <c:v>40900</c:v>
                </c:pt>
                <c:pt idx="260">
                  <c:v>40907</c:v>
                </c:pt>
                <c:pt idx="261">
                  <c:v>40914</c:v>
                </c:pt>
                <c:pt idx="262">
                  <c:v>40921</c:v>
                </c:pt>
                <c:pt idx="263">
                  <c:v>40928</c:v>
                </c:pt>
                <c:pt idx="264">
                  <c:v>40935</c:v>
                </c:pt>
                <c:pt idx="265">
                  <c:v>40942</c:v>
                </c:pt>
                <c:pt idx="266">
                  <c:v>40949</c:v>
                </c:pt>
                <c:pt idx="267">
                  <c:v>40956</c:v>
                </c:pt>
                <c:pt idx="268">
                  <c:v>40963</c:v>
                </c:pt>
                <c:pt idx="269">
                  <c:v>40970</c:v>
                </c:pt>
                <c:pt idx="270">
                  <c:v>40977</c:v>
                </c:pt>
                <c:pt idx="271">
                  <c:v>40984</c:v>
                </c:pt>
                <c:pt idx="272">
                  <c:v>40991</c:v>
                </c:pt>
                <c:pt idx="273">
                  <c:v>40998</c:v>
                </c:pt>
                <c:pt idx="274">
                  <c:v>41005</c:v>
                </c:pt>
                <c:pt idx="275">
                  <c:v>41012</c:v>
                </c:pt>
                <c:pt idx="276">
                  <c:v>41019</c:v>
                </c:pt>
                <c:pt idx="277">
                  <c:v>41026</c:v>
                </c:pt>
                <c:pt idx="278">
                  <c:v>41033</c:v>
                </c:pt>
                <c:pt idx="279">
                  <c:v>41040</c:v>
                </c:pt>
                <c:pt idx="280">
                  <c:v>41047</c:v>
                </c:pt>
                <c:pt idx="281">
                  <c:v>41054</c:v>
                </c:pt>
                <c:pt idx="282">
                  <c:v>41061</c:v>
                </c:pt>
                <c:pt idx="283">
                  <c:v>41068</c:v>
                </c:pt>
                <c:pt idx="284">
                  <c:v>41075</c:v>
                </c:pt>
                <c:pt idx="285">
                  <c:v>41082</c:v>
                </c:pt>
                <c:pt idx="286">
                  <c:v>41089</c:v>
                </c:pt>
                <c:pt idx="287">
                  <c:v>41096</c:v>
                </c:pt>
                <c:pt idx="288">
                  <c:v>41103</c:v>
                </c:pt>
                <c:pt idx="289">
                  <c:v>41110</c:v>
                </c:pt>
                <c:pt idx="290">
                  <c:v>41117</c:v>
                </c:pt>
                <c:pt idx="291">
                  <c:v>41124</c:v>
                </c:pt>
                <c:pt idx="292">
                  <c:v>41131</c:v>
                </c:pt>
                <c:pt idx="293">
                  <c:v>41138</c:v>
                </c:pt>
                <c:pt idx="294">
                  <c:v>41145</c:v>
                </c:pt>
                <c:pt idx="295">
                  <c:v>41152</c:v>
                </c:pt>
                <c:pt idx="296">
                  <c:v>41159</c:v>
                </c:pt>
                <c:pt idx="297">
                  <c:v>41166</c:v>
                </c:pt>
                <c:pt idx="298">
                  <c:v>41173</c:v>
                </c:pt>
                <c:pt idx="299">
                  <c:v>41180</c:v>
                </c:pt>
                <c:pt idx="300">
                  <c:v>41187</c:v>
                </c:pt>
                <c:pt idx="301">
                  <c:v>41194</c:v>
                </c:pt>
                <c:pt idx="302">
                  <c:v>41201</c:v>
                </c:pt>
                <c:pt idx="303">
                  <c:v>41208</c:v>
                </c:pt>
                <c:pt idx="304">
                  <c:v>41215</c:v>
                </c:pt>
                <c:pt idx="305">
                  <c:v>41222</c:v>
                </c:pt>
                <c:pt idx="306">
                  <c:v>41229</c:v>
                </c:pt>
                <c:pt idx="307">
                  <c:v>41236</c:v>
                </c:pt>
                <c:pt idx="308">
                  <c:v>41243</c:v>
                </c:pt>
                <c:pt idx="309">
                  <c:v>41250</c:v>
                </c:pt>
                <c:pt idx="310">
                  <c:v>41257</c:v>
                </c:pt>
                <c:pt idx="311">
                  <c:v>41264</c:v>
                </c:pt>
                <c:pt idx="312">
                  <c:v>41271</c:v>
                </c:pt>
                <c:pt idx="313">
                  <c:v>41278</c:v>
                </c:pt>
                <c:pt idx="314">
                  <c:v>41285</c:v>
                </c:pt>
                <c:pt idx="315">
                  <c:v>41292</c:v>
                </c:pt>
                <c:pt idx="316">
                  <c:v>41299</c:v>
                </c:pt>
                <c:pt idx="317">
                  <c:v>41306</c:v>
                </c:pt>
                <c:pt idx="318">
                  <c:v>41313</c:v>
                </c:pt>
                <c:pt idx="319">
                  <c:v>41320</c:v>
                </c:pt>
                <c:pt idx="320">
                  <c:v>41327</c:v>
                </c:pt>
                <c:pt idx="321">
                  <c:v>41334</c:v>
                </c:pt>
                <c:pt idx="322">
                  <c:v>41341</c:v>
                </c:pt>
                <c:pt idx="323">
                  <c:v>41348</c:v>
                </c:pt>
                <c:pt idx="324">
                  <c:v>41355</c:v>
                </c:pt>
                <c:pt idx="325">
                  <c:v>41362</c:v>
                </c:pt>
                <c:pt idx="326">
                  <c:v>41369</c:v>
                </c:pt>
                <c:pt idx="327">
                  <c:v>41376</c:v>
                </c:pt>
                <c:pt idx="328">
                  <c:v>41383</c:v>
                </c:pt>
                <c:pt idx="329">
                  <c:v>41390</c:v>
                </c:pt>
                <c:pt idx="330">
                  <c:v>41397</c:v>
                </c:pt>
                <c:pt idx="331">
                  <c:v>41404</c:v>
                </c:pt>
                <c:pt idx="332">
                  <c:v>41411</c:v>
                </c:pt>
                <c:pt idx="333">
                  <c:v>41418</c:v>
                </c:pt>
                <c:pt idx="334">
                  <c:v>41425</c:v>
                </c:pt>
                <c:pt idx="335">
                  <c:v>41432</c:v>
                </c:pt>
                <c:pt idx="336">
                  <c:v>41439</c:v>
                </c:pt>
                <c:pt idx="337">
                  <c:v>41446</c:v>
                </c:pt>
                <c:pt idx="338">
                  <c:v>41453</c:v>
                </c:pt>
                <c:pt idx="339">
                  <c:v>41460</c:v>
                </c:pt>
                <c:pt idx="340">
                  <c:v>41467</c:v>
                </c:pt>
                <c:pt idx="341">
                  <c:v>41474</c:v>
                </c:pt>
                <c:pt idx="342">
                  <c:v>41481</c:v>
                </c:pt>
                <c:pt idx="343">
                  <c:v>41488</c:v>
                </c:pt>
                <c:pt idx="344">
                  <c:v>41495</c:v>
                </c:pt>
                <c:pt idx="345">
                  <c:v>41502</c:v>
                </c:pt>
                <c:pt idx="346">
                  <c:v>41509</c:v>
                </c:pt>
                <c:pt idx="347">
                  <c:v>41516</c:v>
                </c:pt>
                <c:pt idx="348">
                  <c:v>41523</c:v>
                </c:pt>
                <c:pt idx="349">
                  <c:v>41530</c:v>
                </c:pt>
                <c:pt idx="350">
                  <c:v>41537</c:v>
                </c:pt>
                <c:pt idx="351">
                  <c:v>41544</c:v>
                </c:pt>
                <c:pt idx="352">
                  <c:v>41551</c:v>
                </c:pt>
                <c:pt idx="353">
                  <c:v>41558</c:v>
                </c:pt>
                <c:pt idx="354">
                  <c:v>41565</c:v>
                </c:pt>
                <c:pt idx="355">
                  <c:v>41572</c:v>
                </c:pt>
                <c:pt idx="356">
                  <c:v>41579</c:v>
                </c:pt>
                <c:pt idx="357">
                  <c:v>41586</c:v>
                </c:pt>
                <c:pt idx="358">
                  <c:v>41593</c:v>
                </c:pt>
                <c:pt idx="359">
                  <c:v>41600</c:v>
                </c:pt>
                <c:pt idx="360">
                  <c:v>41607</c:v>
                </c:pt>
                <c:pt idx="361">
                  <c:v>41614</c:v>
                </c:pt>
                <c:pt idx="362">
                  <c:v>41621</c:v>
                </c:pt>
                <c:pt idx="363">
                  <c:v>41628</c:v>
                </c:pt>
                <c:pt idx="364">
                  <c:v>41635</c:v>
                </c:pt>
                <c:pt idx="365">
                  <c:v>41642</c:v>
                </c:pt>
                <c:pt idx="366">
                  <c:v>41649</c:v>
                </c:pt>
                <c:pt idx="367">
                  <c:v>41656</c:v>
                </c:pt>
                <c:pt idx="368">
                  <c:v>41663</c:v>
                </c:pt>
                <c:pt idx="369">
                  <c:v>41670</c:v>
                </c:pt>
                <c:pt idx="370">
                  <c:v>41677</c:v>
                </c:pt>
                <c:pt idx="371">
                  <c:v>41684</c:v>
                </c:pt>
                <c:pt idx="372">
                  <c:v>41691</c:v>
                </c:pt>
                <c:pt idx="373">
                  <c:v>41698</c:v>
                </c:pt>
                <c:pt idx="374">
                  <c:v>41705</c:v>
                </c:pt>
                <c:pt idx="375">
                  <c:v>41712</c:v>
                </c:pt>
                <c:pt idx="376">
                  <c:v>41719</c:v>
                </c:pt>
                <c:pt idx="377">
                  <c:v>41726</c:v>
                </c:pt>
                <c:pt idx="378">
                  <c:v>41733</c:v>
                </c:pt>
                <c:pt idx="379">
                  <c:v>41740</c:v>
                </c:pt>
                <c:pt idx="380">
                  <c:v>41747</c:v>
                </c:pt>
                <c:pt idx="381">
                  <c:v>41754</c:v>
                </c:pt>
                <c:pt idx="382">
                  <c:v>41761</c:v>
                </c:pt>
                <c:pt idx="383">
                  <c:v>41768</c:v>
                </c:pt>
                <c:pt idx="384">
                  <c:v>41775</c:v>
                </c:pt>
                <c:pt idx="385">
                  <c:v>41782</c:v>
                </c:pt>
                <c:pt idx="386">
                  <c:v>41789</c:v>
                </c:pt>
                <c:pt idx="387">
                  <c:v>41796</c:v>
                </c:pt>
                <c:pt idx="388">
                  <c:v>41803</c:v>
                </c:pt>
                <c:pt idx="389">
                  <c:v>41810</c:v>
                </c:pt>
                <c:pt idx="390">
                  <c:v>41817</c:v>
                </c:pt>
                <c:pt idx="391">
                  <c:v>41824</c:v>
                </c:pt>
                <c:pt idx="392">
                  <c:v>41831</c:v>
                </c:pt>
                <c:pt idx="393">
                  <c:v>41838</c:v>
                </c:pt>
                <c:pt idx="394">
                  <c:v>41845</c:v>
                </c:pt>
                <c:pt idx="395">
                  <c:v>41852</c:v>
                </c:pt>
                <c:pt idx="396">
                  <c:v>41859</c:v>
                </c:pt>
                <c:pt idx="397">
                  <c:v>41866</c:v>
                </c:pt>
                <c:pt idx="398">
                  <c:v>41873</c:v>
                </c:pt>
                <c:pt idx="399">
                  <c:v>41880</c:v>
                </c:pt>
                <c:pt idx="400">
                  <c:v>41887</c:v>
                </c:pt>
                <c:pt idx="401">
                  <c:v>41894</c:v>
                </c:pt>
                <c:pt idx="402">
                  <c:v>41901</c:v>
                </c:pt>
                <c:pt idx="403">
                  <c:v>41908</c:v>
                </c:pt>
                <c:pt idx="404">
                  <c:v>41915</c:v>
                </c:pt>
                <c:pt idx="405">
                  <c:v>41922</c:v>
                </c:pt>
                <c:pt idx="406">
                  <c:v>41929</c:v>
                </c:pt>
                <c:pt idx="407">
                  <c:v>41936</c:v>
                </c:pt>
                <c:pt idx="408">
                  <c:v>41943</c:v>
                </c:pt>
                <c:pt idx="409">
                  <c:v>41950</c:v>
                </c:pt>
                <c:pt idx="410">
                  <c:v>41957</c:v>
                </c:pt>
                <c:pt idx="411">
                  <c:v>41964</c:v>
                </c:pt>
                <c:pt idx="412">
                  <c:v>41971</c:v>
                </c:pt>
                <c:pt idx="413">
                  <c:v>41978</c:v>
                </c:pt>
                <c:pt idx="414">
                  <c:v>41985</c:v>
                </c:pt>
                <c:pt idx="415">
                  <c:v>41992</c:v>
                </c:pt>
                <c:pt idx="416">
                  <c:v>41999</c:v>
                </c:pt>
                <c:pt idx="417">
                  <c:v>42006</c:v>
                </c:pt>
                <c:pt idx="418">
                  <c:v>42013</c:v>
                </c:pt>
                <c:pt idx="419">
                  <c:v>42020</c:v>
                </c:pt>
                <c:pt idx="420">
                  <c:v>42027</c:v>
                </c:pt>
                <c:pt idx="421">
                  <c:v>42034</c:v>
                </c:pt>
                <c:pt idx="422">
                  <c:v>42041</c:v>
                </c:pt>
                <c:pt idx="423">
                  <c:v>42048</c:v>
                </c:pt>
                <c:pt idx="424">
                  <c:v>42055</c:v>
                </c:pt>
                <c:pt idx="425">
                  <c:v>42062</c:v>
                </c:pt>
                <c:pt idx="426">
                  <c:v>42069</c:v>
                </c:pt>
                <c:pt idx="427">
                  <c:v>42076</c:v>
                </c:pt>
                <c:pt idx="428">
                  <c:v>42083</c:v>
                </c:pt>
                <c:pt idx="429">
                  <c:v>42090</c:v>
                </c:pt>
                <c:pt idx="430">
                  <c:v>42097</c:v>
                </c:pt>
                <c:pt idx="431">
                  <c:v>42104</c:v>
                </c:pt>
                <c:pt idx="432">
                  <c:v>42111</c:v>
                </c:pt>
                <c:pt idx="433">
                  <c:v>42118</c:v>
                </c:pt>
                <c:pt idx="434">
                  <c:v>42125</c:v>
                </c:pt>
                <c:pt idx="435">
                  <c:v>42132</c:v>
                </c:pt>
                <c:pt idx="436">
                  <c:v>42139</c:v>
                </c:pt>
                <c:pt idx="437">
                  <c:v>42146</c:v>
                </c:pt>
                <c:pt idx="438">
                  <c:v>42153</c:v>
                </c:pt>
                <c:pt idx="439">
                  <c:v>42160</c:v>
                </c:pt>
                <c:pt idx="440">
                  <c:v>42167</c:v>
                </c:pt>
                <c:pt idx="441">
                  <c:v>42174</c:v>
                </c:pt>
                <c:pt idx="442">
                  <c:v>42181</c:v>
                </c:pt>
                <c:pt idx="443">
                  <c:v>42223</c:v>
                </c:pt>
                <c:pt idx="444">
                  <c:v>42230</c:v>
                </c:pt>
                <c:pt idx="445">
                  <c:v>42237</c:v>
                </c:pt>
                <c:pt idx="446">
                  <c:v>42244</c:v>
                </c:pt>
                <c:pt idx="447">
                  <c:v>42251</c:v>
                </c:pt>
                <c:pt idx="448">
                  <c:v>42258</c:v>
                </c:pt>
                <c:pt idx="449">
                  <c:v>42265</c:v>
                </c:pt>
                <c:pt idx="450">
                  <c:v>42272</c:v>
                </c:pt>
                <c:pt idx="451">
                  <c:v>42279</c:v>
                </c:pt>
                <c:pt idx="452">
                  <c:v>42286</c:v>
                </c:pt>
                <c:pt idx="453">
                  <c:v>42293</c:v>
                </c:pt>
                <c:pt idx="454">
                  <c:v>42300</c:v>
                </c:pt>
                <c:pt idx="455">
                  <c:v>42307</c:v>
                </c:pt>
                <c:pt idx="456">
                  <c:v>42314</c:v>
                </c:pt>
                <c:pt idx="457">
                  <c:v>42321</c:v>
                </c:pt>
                <c:pt idx="458">
                  <c:v>42328</c:v>
                </c:pt>
                <c:pt idx="459">
                  <c:v>42335</c:v>
                </c:pt>
                <c:pt idx="460">
                  <c:v>42342</c:v>
                </c:pt>
                <c:pt idx="461">
                  <c:v>42349</c:v>
                </c:pt>
                <c:pt idx="462">
                  <c:v>42356</c:v>
                </c:pt>
                <c:pt idx="463">
                  <c:v>42363</c:v>
                </c:pt>
                <c:pt idx="464">
                  <c:v>42370</c:v>
                </c:pt>
                <c:pt idx="465">
                  <c:v>42377</c:v>
                </c:pt>
                <c:pt idx="466">
                  <c:v>42384</c:v>
                </c:pt>
                <c:pt idx="467">
                  <c:v>42391</c:v>
                </c:pt>
                <c:pt idx="468">
                  <c:v>42398</c:v>
                </c:pt>
                <c:pt idx="469">
                  <c:v>42405</c:v>
                </c:pt>
                <c:pt idx="470">
                  <c:v>42412</c:v>
                </c:pt>
                <c:pt idx="471">
                  <c:v>42419</c:v>
                </c:pt>
                <c:pt idx="472">
                  <c:v>42426</c:v>
                </c:pt>
                <c:pt idx="473">
                  <c:v>42433</c:v>
                </c:pt>
                <c:pt idx="474">
                  <c:v>42440</c:v>
                </c:pt>
                <c:pt idx="475">
                  <c:v>42447</c:v>
                </c:pt>
                <c:pt idx="476">
                  <c:v>42454</c:v>
                </c:pt>
                <c:pt idx="477">
                  <c:v>42461</c:v>
                </c:pt>
                <c:pt idx="478">
                  <c:v>42468</c:v>
                </c:pt>
                <c:pt idx="479">
                  <c:v>42475</c:v>
                </c:pt>
                <c:pt idx="480">
                  <c:v>42482</c:v>
                </c:pt>
                <c:pt idx="481">
                  <c:v>42489</c:v>
                </c:pt>
                <c:pt idx="482">
                  <c:v>42496</c:v>
                </c:pt>
                <c:pt idx="483">
                  <c:v>42503</c:v>
                </c:pt>
                <c:pt idx="484">
                  <c:v>42510</c:v>
                </c:pt>
                <c:pt idx="485">
                  <c:v>42517</c:v>
                </c:pt>
                <c:pt idx="486">
                  <c:v>42524</c:v>
                </c:pt>
                <c:pt idx="487">
                  <c:v>42531</c:v>
                </c:pt>
                <c:pt idx="488">
                  <c:v>42538</c:v>
                </c:pt>
                <c:pt idx="489">
                  <c:v>42545</c:v>
                </c:pt>
                <c:pt idx="490">
                  <c:v>42552</c:v>
                </c:pt>
                <c:pt idx="491">
                  <c:v>42559</c:v>
                </c:pt>
                <c:pt idx="492">
                  <c:v>42566</c:v>
                </c:pt>
                <c:pt idx="493">
                  <c:v>42573</c:v>
                </c:pt>
                <c:pt idx="494">
                  <c:v>42580</c:v>
                </c:pt>
                <c:pt idx="495">
                  <c:v>42587</c:v>
                </c:pt>
                <c:pt idx="496">
                  <c:v>42594</c:v>
                </c:pt>
                <c:pt idx="497">
                  <c:v>42601</c:v>
                </c:pt>
                <c:pt idx="498">
                  <c:v>42608</c:v>
                </c:pt>
                <c:pt idx="499">
                  <c:v>42615</c:v>
                </c:pt>
                <c:pt idx="500">
                  <c:v>42622</c:v>
                </c:pt>
                <c:pt idx="501">
                  <c:v>42629</c:v>
                </c:pt>
                <c:pt idx="502">
                  <c:v>42636</c:v>
                </c:pt>
                <c:pt idx="503">
                  <c:v>42643</c:v>
                </c:pt>
                <c:pt idx="504">
                  <c:v>42650</c:v>
                </c:pt>
                <c:pt idx="505">
                  <c:v>42657</c:v>
                </c:pt>
                <c:pt idx="506">
                  <c:v>42664</c:v>
                </c:pt>
                <c:pt idx="507">
                  <c:v>42671</c:v>
                </c:pt>
                <c:pt idx="508">
                  <c:v>42678</c:v>
                </c:pt>
                <c:pt idx="509">
                  <c:v>42685</c:v>
                </c:pt>
                <c:pt idx="510">
                  <c:v>42692</c:v>
                </c:pt>
                <c:pt idx="511">
                  <c:v>42699</c:v>
                </c:pt>
                <c:pt idx="512">
                  <c:v>42706</c:v>
                </c:pt>
                <c:pt idx="513">
                  <c:v>42713</c:v>
                </c:pt>
                <c:pt idx="514">
                  <c:v>42720</c:v>
                </c:pt>
                <c:pt idx="515">
                  <c:v>42727</c:v>
                </c:pt>
                <c:pt idx="516">
                  <c:v>42734</c:v>
                </c:pt>
              </c:numCache>
            </c:numRef>
          </c:cat>
          <c:val>
            <c:numRef>
              <c:f>[DATA.xlsx]Sheet1!$AC$4:$AC$520</c:f>
              <c:numCache>
                <c:formatCode>General</c:formatCode>
                <c:ptCount val="517"/>
                <c:pt idx="0">
                  <c:v>100</c:v>
                </c:pt>
                <c:pt idx="1">
                  <c:v>111.25185185185185</c:v>
                </c:pt>
                <c:pt idx="2">
                  <c:v>104.05679012345679</c:v>
                </c:pt>
                <c:pt idx="3">
                  <c:v>100.38765432098766</c:v>
                </c:pt>
                <c:pt idx="4">
                  <c:v>99.646913580246917</c:v>
                </c:pt>
                <c:pt idx="5">
                  <c:v>97.906995884773664</c:v>
                </c:pt>
                <c:pt idx="6">
                  <c:v>99.741563786008243</c:v>
                </c:pt>
                <c:pt idx="7">
                  <c:v>104.7267489711934</c:v>
                </c:pt>
                <c:pt idx="8">
                  <c:v>100.42304526748971</c:v>
                </c:pt>
                <c:pt idx="9">
                  <c:v>103.43292181069958</c:v>
                </c:pt>
                <c:pt idx="10">
                  <c:v>105.33827160493827</c:v>
                </c:pt>
                <c:pt idx="11">
                  <c:v>109.9588477366255</c:v>
                </c:pt>
                <c:pt idx="12">
                  <c:v>109.24197530864197</c:v>
                </c:pt>
                <c:pt idx="13">
                  <c:v>111.32263374485596</c:v>
                </c:pt>
                <c:pt idx="14">
                  <c:v>106.10205761316874</c:v>
                </c:pt>
                <c:pt idx="15">
                  <c:v>106.96049382716049</c:v>
                </c:pt>
                <c:pt idx="16">
                  <c:v>117.48395061728394</c:v>
                </c:pt>
                <c:pt idx="17">
                  <c:v>118.53004115226338</c:v>
                </c:pt>
                <c:pt idx="18">
                  <c:v>127.85432098765432</c:v>
                </c:pt>
                <c:pt idx="19">
                  <c:v>129.35884773662551</c:v>
                </c:pt>
                <c:pt idx="20">
                  <c:v>133.5917695473251</c:v>
                </c:pt>
                <c:pt idx="21">
                  <c:v>139.21234567901234</c:v>
                </c:pt>
                <c:pt idx="22">
                  <c:v>146.37283950617285</c:v>
                </c:pt>
                <c:pt idx="23">
                  <c:v>141.68148148148148</c:v>
                </c:pt>
                <c:pt idx="24">
                  <c:v>144.62057613168724</c:v>
                </c:pt>
                <c:pt idx="25">
                  <c:v>143.49218106995886</c:v>
                </c:pt>
                <c:pt idx="26">
                  <c:v>155.55555555555554</c:v>
                </c:pt>
                <c:pt idx="27">
                  <c:v>161.93991769547324</c:v>
                </c:pt>
                <c:pt idx="28">
                  <c:v>169.01810699588475</c:v>
                </c:pt>
                <c:pt idx="29">
                  <c:v>169.1358024691358</c:v>
                </c:pt>
                <c:pt idx="30">
                  <c:v>155.02633744855967</c:v>
                </c:pt>
                <c:pt idx="31">
                  <c:v>146.97201646090534</c:v>
                </c:pt>
                <c:pt idx="32">
                  <c:v>143.51522633744855</c:v>
                </c:pt>
                <c:pt idx="33">
                  <c:v>159.08312757201645</c:v>
                </c:pt>
                <c:pt idx="34">
                  <c:v>162.82222222222222</c:v>
                </c:pt>
                <c:pt idx="35">
                  <c:v>154.93251028806586</c:v>
                </c:pt>
                <c:pt idx="36">
                  <c:v>163.20987654320987</c:v>
                </c:pt>
                <c:pt idx="37">
                  <c:v>169.48888888888888</c:v>
                </c:pt>
                <c:pt idx="38">
                  <c:v>180.4469135802469</c:v>
                </c:pt>
                <c:pt idx="39">
                  <c:v>189.82962962962961</c:v>
                </c:pt>
                <c:pt idx="40">
                  <c:v>196.65349794238682</c:v>
                </c:pt>
                <c:pt idx="41">
                  <c:v>200.37613168724283</c:v>
                </c:pt>
                <c:pt idx="42">
                  <c:v>217.1662551440329</c:v>
                </c:pt>
                <c:pt idx="43">
                  <c:v>220.89382716049383</c:v>
                </c:pt>
                <c:pt idx="44">
                  <c:v>194.43868312757203</c:v>
                </c:pt>
                <c:pt idx="45">
                  <c:v>195.63786008230451</c:v>
                </c:pt>
                <c:pt idx="46">
                  <c:v>201.69300411522633</c:v>
                </c:pt>
                <c:pt idx="47">
                  <c:v>214.25020576131689</c:v>
                </c:pt>
                <c:pt idx="48">
                  <c:v>228.45349794238686</c:v>
                </c:pt>
                <c:pt idx="49">
                  <c:v>223.85679012345676</c:v>
                </c:pt>
                <c:pt idx="50">
                  <c:v>227.99506172839506</c:v>
                </c:pt>
                <c:pt idx="51">
                  <c:v>234.95555555555555</c:v>
                </c:pt>
                <c:pt idx="52">
                  <c:v>211.69876543209875</c:v>
                </c:pt>
                <c:pt idx="53">
                  <c:v>203.04526748971193</c:v>
                </c:pt>
                <c:pt idx="54">
                  <c:v>189.72345679012346</c:v>
                </c:pt>
                <c:pt idx="55">
                  <c:v>152.86337448559669</c:v>
                </c:pt>
                <c:pt idx="56">
                  <c:v>157.26008230452672</c:v>
                </c:pt>
                <c:pt idx="57">
                  <c:v>147.53662551440328</c:v>
                </c:pt>
                <c:pt idx="58">
                  <c:v>146.53744855967079</c:v>
                </c:pt>
                <c:pt idx="59">
                  <c:v>140.45843621399177</c:v>
                </c:pt>
                <c:pt idx="60">
                  <c:v>146.99588477366254</c:v>
                </c:pt>
                <c:pt idx="61">
                  <c:v>143.73909465020577</c:v>
                </c:pt>
                <c:pt idx="62">
                  <c:v>148.86502057613166</c:v>
                </c:pt>
                <c:pt idx="63">
                  <c:v>156.69629629629628</c:v>
                </c:pt>
                <c:pt idx="64">
                  <c:v>168.14814814814812</c:v>
                </c:pt>
                <c:pt idx="65">
                  <c:v>179.98847736625515</c:v>
                </c:pt>
                <c:pt idx="66">
                  <c:v>173.00411522633743</c:v>
                </c:pt>
                <c:pt idx="67">
                  <c:v>189.34732510288066</c:v>
                </c:pt>
                <c:pt idx="68">
                  <c:v>199.56460905349792</c:v>
                </c:pt>
                <c:pt idx="69">
                  <c:v>212.7456790123457</c:v>
                </c:pt>
                <c:pt idx="70">
                  <c:v>215.69629629629628</c:v>
                </c:pt>
                <c:pt idx="71">
                  <c:v>220.6</c:v>
                </c:pt>
                <c:pt idx="72">
                  <c:v>213.01563786008231</c:v>
                </c:pt>
                <c:pt idx="73">
                  <c:v>221.92839506172839</c:v>
                </c:pt>
                <c:pt idx="74">
                  <c:v>218.27160493827159</c:v>
                </c:pt>
                <c:pt idx="75">
                  <c:v>202.66913580246913</c:v>
                </c:pt>
                <c:pt idx="76">
                  <c:v>206.07901234567899</c:v>
                </c:pt>
                <c:pt idx="77">
                  <c:v>199.98847736625513</c:v>
                </c:pt>
                <c:pt idx="78">
                  <c:v>200.02386831275723</c:v>
                </c:pt>
                <c:pt idx="79">
                  <c:v>202.91604938271607</c:v>
                </c:pt>
                <c:pt idx="80">
                  <c:v>194.18024691358025</c:v>
                </c:pt>
                <c:pt idx="81">
                  <c:v>190.61728395061726</c:v>
                </c:pt>
                <c:pt idx="82">
                  <c:v>184.19753086419752</c:v>
                </c:pt>
                <c:pt idx="83">
                  <c:v>199.35308641975305</c:v>
                </c:pt>
                <c:pt idx="84">
                  <c:v>206.63127572016458</c:v>
                </c:pt>
                <c:pt idx="85">
                  <c:v>207.86584362139919</c:v>
                </c:pt>
                <c:pt idx="86">
                  <c:v>199.33004115226336</c:v>
                </c:pt>
                <c:pt idx="87">
                  <c:v>188.33662551440329</c:v>
                </c:pt>
                <c:pt idx="88">
                  <c:v>175.12016460905352</c:v>
                </c:pt>
                <c:pt idx="89">
                  <c:v>165.67901234567898</c:v>
                </c:pt>
                <c:pt idx="90">
                  <c:v>150.78189300411523</c:v>
                </c:pt>
                <c:pt idx="91">
                  <c:v>114.13251028806583</c:v>
                </c:pt>
                <c:pt idx="92">
                  <c:v>113.8156378600823</c:v>
                </c:pt>
                <c:pt idx="93">
                  <c:v>114.52098765432099</c:v>
                </c:pt>
                <c:pt idx="94">
                  <c:v>113.32181069958847</c:v>
                </c:pt>
                <c:pt idx="95">
                  <c:v>126.5020576131687</c:v>
                </c:pt>
                <c:pt idx="96">
                  <c:v>115.50864197530863</c:v>
                </c:pt>
                <c:pt idx="97">
                  <c:v>106.10205761316874</c:v>
                </c:pt>
                <c:pt idx="98">
                  <c:v>97.095473251028807</c:v>
                </c:pt>
                <c:pt idx="99">
                  <c:v>108.959670781893</c:v>
                </c:pt>
                <c:pt idx="100">
                  <c:v>110.52345679012345</c:v>
                </c:pt>
                <c:pt idx="101">
                  <c:v>115.5440329218107</c:v>
                </c:pt>
                <c:pt idx="102">
                  <c:v>105.81975308641974</c:v>
                </c:pt>
                <c:pt idx="103">
                  <c:v>100.89382716049383</c:v>
                </c:pt>
                <c:pt idx="104">
                  <c:v>106.70205761316871</c:v>
                </c:pt>
                <c:pt idx="105">
                  <c:v>106.50205761316872</c:v>
                </c:pt>
                <c:pt idx="106">
                  <c:v>96.801646090534973</c:v>
                </c:pt>
                <c:pt idx="107">
                  <c:v>103.89218106995884</c:v>
                </c:pt>
                <c:pt idx="108">
                  <c:v>105.97283950617285</c:v>
                </c:pt>
                <c:pt idx="109">
                  <c:v>117.24855967078189</c:v>
                </c:pt>
                <c:pt idx="110">
                  <c:v>116.59012345679012</c:v>
                </c:pt>
                <c:pt idx="111">
                  <c:v>107.23127572016462</c:v>
                </c:pt>
                <c:pt idx="112">
                  <c:v>105.00905349794239</c:v>
                </c:pt>
                <c:pt idx="113">
                  <c:v>100.29382716049382</c:v>
                </c:pt>
                <c:pt idx="114">
                  <c:v>112.79259259259258</c:v>
                </c:pt>
                <c:pt idx="115">
                  <c:v>119.44773662551439</c:v>
                </c:pt>
                <c:pt idx="116">
                  <c:v>125.63209876543209</c:v>
                </c:pt>
                <c:pt idx="117">
                  <c:v>136.37860082304528</c:v>
                </c:pt>
                <c:pt idx="118">
                  <c:v>140.58765432098764</c:v>
                </c:pt>
                <c:pt idx="119">
                  <c:v>145.11440329218107</c:v>
                </c:pt>
                <c:pt idx="120">
                  <c:v>145.67901234567898</c:v>
                </c:pt>
                <c:pt idx="121">
                  <c:v>149.60576131687242</c:v>
                </c:pt>
                <c:pt idx="122">
                  <c:v>151.89876543209877</c:v>
                </c:pt>
                <c:pt idx="123">
                  <c:v>143.93909465020579</c:v>
                </c:pt>
                <c:pt idx="124">
                  <c:v>144.03292181069958</c:v>
                </c:pt>
                <c:pt idx="125">
                  <c:v>159.68230452674896</c:v>
                </c:pt>
                <c:pt idx="126">
                  <c:v>170.09958847736627</c:v>
                </c:pt>
                <c:pt idx="127">
                  <c:v>161.04609053497941</c:v>
                </c:pt>
                <c:pt idx="128">
                  <c:v>163.99753086419753</c:v>
                </c:pt>
                <c:pt idx="129">
                  <c:v>167.47818930041151</c:v>
                </c:pt>
                <c:pt idx="130">
                  <c:v>164.6329218106996</c:v>
                </c:pt>
                <c:pt idx="131">
                  <c:v>162.86913580246912</c:v>
                </c:pt>
                <c:pt idx="132">
                  <c:v>178.42469135802469</c:v>
                </c:pt>
                <c:pt idx="133">
                  <c:v>188.10781893004113</c:v>
                </c:pt>
                <c:pt idx="134">
                  <c:v>192.11028806584363</c:v>
                </c:pt>
                <c:pt idx="135">
                  <c:v>194.60329218106995</c:v>
                </c:pt>
                <c:pt idx="136">
                  <c:v>196.09629629629632</c:v>
                </c:pt>
                <c:pt idx="137">
                  <c:v>198.96543209876543</c:v>
                </c:pt>
                <c:pt idx="138">
                  <c:v>199.94156378600823</c:v>
                </c:pt>
                <c:pt idx="139">
                  <c:v>200.24691358024688</c:v>
                </c:pt>
                <c:pt idx="140">
                  <c:v>202.42222222222225</c:v>
                </c:pt>
                <c:pt idx="141">
                  <c:v>217.54238683127571</c:v>
                </c:pt>
                <c:pt idx="142">
                  <c:v>214.42716049382716</c:v>
                </c:pt>
                <c:pt idx="143">
                  <c:v>217.401646090535</c:v>
                </c:pt>
                <c:pt idx="144">
                  <c:v>223.95061728395063</c:v>
                </c:pt>
                <c:pt idx="145">
                  <c:v>221.10534979423866</c:v>
                </c:pt>
                <c:pt idx="146">
                  <c:v>239.78847736625514</c:v>
                </c:pt>
                <c:pt idx="147">
                  <c:v>221.63456790123456</c:v>
                </c:pt>
                <c:pt idx="148">
                  <c:v>228.50123456790121</c:v>
                </c:pt>
                <c:pt idx="149">
                  <c:v>240.38765432098765</c:v>
                </c:pt>
                <c:pt idx="150">
                  <c:v>235.06172839506169</c:v>
                </c:pt>
                <c:pt idx="151">
                  <c:v>235.84938271604935</c:v>
                </c:pt>
                <c:pt idx="152">
                  <c:v>227.30123456790122</c:v>
                </c:pt>
                <c:pt idx="153">
                  <c:v>228.88888888888889</c:v>
                </c:pt>
                <c:pt idx="154">
                  <c:v>229.78271604938274</c:v>
                </c:pt>
                <c:pt idx="155">
                  <c:v>245.78518518518518</c:v>
                </c:pt>
                <c:pt idx="156">
                  <c:v>247.77448559670779</c:v>
                </c:pt>
                <c:pt idx="157">
                  <c:v>249.241975308642</c:v>
                </c:pt>
                <c:pt idx="158">
                  <c:v>242.12839506172838</c:v>
                </c:pt>
                <c:pt idx="159">
                  <c:v>232.51028806584361</c:v>
                </c:pt>
                <c:pt idx="160">
                  <c:v>225.82386831275718</c:v>
                </c:pt>
                <c:pt idx="161">
                  <c:v>229.81810699588476</c:v>
                </c:pt>
                <c:pt idx="162">
                  <c:v>235.60246913580244</c:v>
                </c:pt>
                <c:pt idx="163">
                  <c:v>237.11934156378601</c:v>
                </c:pt>
                <c:pt idx="164">
                  <c:v>240.58765432098764</c:v>
                </c:pt>
                <c:pt idx="165">
                  <c:v>257.43703703703704</c:v>
                </c:pt>
                <c:pt idx="166">
                  <c:v>266.43127572016459</c:v>
                </c:pt>
                <c:pt idx="167">
                  <c:v>261.31687242798353</c:v>
                </c:pt>
                <c:pt idx="168">
                  <c:v>271.48724279835392</c:v>
                </c:pt>
                <c:pt idx="169">
                  <c:v>277.44855967078189</c:v>
                </c:pt>
                <c:pt idx="170">
                  <c:v>284.29135802469136</c:v>
                </c:pt>
                <c:pt idx="171">
                  <c:v>290.8880658436214</c:v>
                </c:pt>
                <c:pt idx="172">
                  <c:v>318.43621399176953</c:v>
                </c:pt>
                <c:pt idx="173">
                  <c:v>306.98436213991772</c:v>
                </c:pt>
                <c:pt idx="174">
                  <c:v>277.319341563786</c:v>
                </c:pt>
                <c:pt idx="175">
                  <c:v>298.43621399176953</c:v>
                </c:pt>
                <c:pt idx="176">
                  <c:v>284.91440329218108</c:v>
                </c:pt>
                <c:pt idx="177">
                  <c:v>302.03374485596709</c:v>
                </c:pt>
                <c:pt idx="178">
                  <c:v>300.95802469135805</c:v>
                </c:pt>
                <c:pt idx="179">
                  <c:v>298.07160493827161</c:v>
                </c:pt>
                <c:pt idx="180">
                  <c:v>322.25020576131686</c:v>
                </c:pt>
                <c:pt idx="181">
                  <c:v>313.58024691358025</c:v>
                </c:pt>
                <c:pt idx="182">
                  <c:v>290.34650205761312</c:v>
                </c:pt>
                <c:pt idx="183">
                  <c:v>305.25596707818926</c:v>
                </c:pt>
                <c:pt idx="184">
                  <c:v>293.82716049382719</c:v>
                </c:pt>
                <c:pt idx="185">
                  <c:v>305.63209876543215</c:v>
                </c:pt>
                <c:pt idx="186">
                  <c:v>302.46913580246917</c:v>
                </c:pt>
                <c:pt idx="187">
                  <c:v>305.8098765432099</c:v>
                </c:pt>
                <c:pt idx="188">
                  <c:v>292.88641975308644</c:v>
                </c:pt>
                <c:pt idx="189">
                  <c:v>293.52181069958851</c:v>
                </c:pt>
                <c:pt idx="190">
                  <c:v>284.09135802469137</c:v>
                </c:pt>
                <c:pt idx="191">
                  <c:v>304.25596707818931</c:v>
                </c:pt>
                <c:pt idx="192">
                  <c:v>309.71193415637862</c:v>
                </c:pt>
                <c:pt idx="193">
                  <c:v>323.77448559670779</c:v>
                </c:pt>
                <c:pt idx="194">
                  <c:v>343.7037037037037</c:v>
                </c:pt>
                <c:pt idx="195">
                  <c:v>332.18106995884773</c:v>
                </c:pt>
                <c:pt idx="196">
                  <c:v>345.76131687242798</c:v>
                </c:pt>
                <c:pt idx="197">
                  <c:v>370.06502057613164</c:v>
                </c:pt>
                <c:pt idx="198">
                  <c:v>361.51687242798351</c:v>
                </c:pt>
                <c:pt idx="199">
                  <c:v>353.88559670781893</c:v>
                </c:pt>
                <c:pt idx="200">
                  <c:v>372.87489711934154</c:v>
                </c:pt>
                <c:pt idx="201">
                  <c:v>362.17530864197533</c:v>
                </c:pt>
                <c:pt idx="202">
                  <c:v>360.64691358024692</c:v>
                </c:pt>
                <c:pt idx="203">
                  <c:v>371.26419753086418</c:v>
                </c:pt>
                <c:pt idx="204">
                  <c:v>373.23950617283947</c:v>
                </c:pt>
                <c:pt idx="205">
                  <c:v>376.90781893004112</c:v>
                </c:pt>
                <c:pt idx="206">
                  <c:v>376.96625514403291</c:v>
                </c:pt>
                <c:pt idx="207">
                  <c:v>380.48230452674898</c:v>
                </c:pt>
                <c:pt idx="208">
                  <c:v>379.25925925925924</c:v>
                </c:pt>
                <c:pt idx="209">
                  <c:v>395.20246913580246</c:v>
                </c:pt>
                <c:pt idx="210">
                  <c:v>409.73580246913582</c:v>
                </c:pt>
                <c:pt idx="211">
                  <c:v>384.15061728395062</c:v>
                </c:pt>
                <c:pt idx="212">
                  <c:v>395.17942386831277</c:v>
                </c:pt>
                <c:pt idx="213">
                  <c:v>407.40740740740733</c:v>
                </c:pt>
                <c:pt idx="214">
                  <c:v>419.57695473251027</c:v>
                </c:pt>
                <c:pt idx="215">
                  <c:v>412.18106995884767</c:v>
                </c:pt>
                <c:pt idx="216">
                  <c:v>409.35884773662548</c:v>
                </c:pt>
                <c:pt idx="217">
                  <c:v>423.28065843621403</c:v>
                </c:pt>
                <c:pt idx="218">
                  <c:v>413.86255144032924</c:v>
                </c:pt>
                <c:pt idx="219">
                  <c:v>388.79506172839501</c:v>
                </c:pt>
                <c:pt idx="220">
                  <c:v>413.33333333333326</c:v>
                </c:pt>
                <c:pt idx="221">
                  <c:v>405.12674897119342</c:v>
                </c:pt>
                <c:pt idx="222">
                  <c:v>393.95637860082303</c:v>
                </c:pt>
                <c:pt idx="223">
                  <c:v>385.02057613168728</c:v>
                </c:pt>
                <c:pt idx="224">
                  <c:v>412.34074074074078</c:v>
                </c:pt>
                <c:pt idx="225">
                  <c:v>411.67572016460906</c:v>
                </c:pt>
                <c:pt idx="226">
                  <c:v>407.59588477366259</c:v>
                </c:pt>
                <c:pt idx="227">
                  <c:v>400.35308641975308</c:v>
                </c:pt>
                <c:pt idx="228">
                  <c:v>394.14485596707817</c:v>
                </c:pt>
                <c:pt idx="229">
                  <c:v>396.71934156378603</c:v>
                </c:pt>
                <c:pt idx="230">
                  <c:v>403.8098765432099</c:v>
                </c:pt>
                <c:pt idx="231">
                  <c:v>383.18600823045267</c:v>
                </c:pt>
                <c:pt idx="232">
                  <c:v>376.55473251028803</c:v>
                </c:pt>
                <c:pt idx="233">
                  <c:v>383.71522633744854</c:v>
                </c:pt>
                <c:pt idx="234">
                  <c:v>403.59753086419755</c:v>
                </c:pt>
                <c:pt idx="235">
                  <c:v>422.93909465020579</c:v>
                </c:pt>
                <c:pt idx="236">
                  <c:v>429.0650205761317</c:v>
                </c:pt>
                <c:pt idx="237">
                  <c:v>462.43374485596701</c:v>
                </c:pt>
                <c:pt idx="238">
                  <c:v>459.1185185185185</c:v>
                </c:pt>
                <c:pt idx="239">
                  <c:v>439.29465020576129</c:v>
                </c:pt>
                <c:pt idx="240">
                  <c:v>443.25679012345677</c:v>
                </c:pt>
                <c:pt idx="241">
                  <c:v>418.61234567901232</c:v>
                </c:pt>
                <c:pt idx="242">
                  <c:v>451.00493827160494</c:v>
                </c:pt>
                <c:pt idx="243">
                  <c:v>439.79999999999995</c:v>
                </c:pt>
                <c:pt idx="244">
                  <c:v>443.83292181069959</c:v>
                </c:pt>
                <c:pt idx="245">
                  <c:v>470.89958847736619</c:v>
                </c:pt>
                <c:pt idx="246">
                  <c:v>475.3670781893004</c:v>
                </c:pt>
                <c:pt idx="247">
                  <c:v>448.34814814814814</c:v>
                </c:pt>
                <c:pt idx="248">
                  <c:v>434.80329218106999</c:v>
                </c:pt>
                <c:pt idx="249">
                  <c:v>496.17860082304526</c:v>
                </c:pt>
                <c:pt idx="250">
                  <c:v>461.92839506172839</c:v>
                </c:pt>
                <c:pt idx="251">
                  <c:v>476.13168724279842</c:v>
                </c:pt>
                <c:pt idx="252">
                  <c:v>470.59341563786006</c:v>
                </c:pt>
                <c:pt idx="253">
                  <c:v>452.22798353909468</c:v>
                </c:pt>
                <c:pt idx="254">
                  <c:v>440.84691358024691</c:v>
                </c:pt>
                <c:pt idx="255">
                  <c:v>427.47818930041149</c:v>
                </c:pt>
                <c:pt idx="256">
                  <c:v>458.2008230452675</c:v>
                </c:pt>
                <c:pt idx="257">
                  <c:v>462.80987654320984</c:v>
                </c:pt>
                <c:pt idx="258">
                  <c:v>447.995061728395</c:v>
                </c:pt>
                <c:pt idx="259">
                  <c:v>474.22716049382717</c:v>
                </c:pt>
                <c:pt idx="260">
                  <c:v>476.1901234567901</c:v>
                </c:pt>
                <c:pt idx="261">
                  <c:v>496.64938271604939</c:v>
                </c:pt>
                <c:pt idx="262">
                  <c:v>493.60411522633746</c:v>
                </c:pt>
                <c:pt idx="263">
                  <c:v>494.18024691358022</c:v>
                </c:pt>
                <c:pt idx="264">
                  <c:v>525.90205761316872</c:v>
                </c:pt>
                <c:pt idx="265">
                  <c:v>540.48230452674898</c:v>
                </c:pt>
                <c:pt idx="266">
                  <c:v>580.15308641975309</c:v>
                </c:pt>
                <c:pt idx="267">
                  <c:v>590.38189300411523</c:v>
                </c:pt>
                <c:pt idx="268">
                  <c:v>614.2386831275719</c:v>
                </c:pt>
                <c:pt idx="269">
                  <c:v>641.0115226337449</c:v>
                </c:pt>
                <c:pt idx="270">
                  <c:v>640.99917695473255</c:v>
                </c:pt>
                <c:pt idx="271">
                  <c:v>688.50123456790118</c:v>
                </c:pt>
                <c:pt idx="272">
                  <c:v>700.82304526748976</c:v>
                </c:pt>
                <c:pt idx="273">
                  <c:v>704.93827160493834</c:v>
                </c:pt>
                <c:pt idx="274">
                  <c:v>745.06748971193417</c:v>
                </c:pt>
                <c:pt idx="275">
                  <c:v>711.61646090534975</c:v>
                </c:pt>
                <c:pt idx="276">
                  <c:v>673.69794238683119</c:v>
                </c:pt>
                <c:pt idx="277">
                  <c:v>708.99506172839506</c:v>
                </c:pt>
                <c:pt idx="278">
                  <c:v>664.60905349794234</c:v>
                </c:pt>
                <c:pt idx="279">
                  <c:v>666.32592592592596</c:v>
                </c:pt>
                <c:pt idx="280">
                  <c:v>623.60987654320991</c:v>
                </c:pt>
                <c:pt idx="281">
                  <c:v>661.12839506172838</c:v>
                </c:pt>
                <c:pt idx="282">
                  <c:v>659.6</c:v>
                </c:pt>
                <c:pt idx="283">
                  <c:v>682.32839506172832</c:v>
                </c:pt>
                <c:pt idx="284">
                  <c:v>675.05020576131699</c:v>
                </c:pt>
                <c:pt idx="285">
                  <c:v>684.4205761316872</c:v>
                </c:pt>
                <c:pt idx="286">
                  <c:v>686.65514403292173</c:v>
                </c:pt>
                <c:pt idx="287">
                  <c:v>712.38106995884766</c:v>
                </c:pt>
                <c:pt idx="288">
                  <c:v>711.31111111111113</c:v>
                </c:pt>
                <c:pt idx="289">
                  <c:v>710.52345679012342</c:v>
                </c:pt>
                <c:pt idx="290">
                  <c:v>688.01893004115232</c:v>
                </c:pt>
                <c:pt idx="291">
                  <c:v>723.92674897119343</c:v>
                </c:pt>
                <c:pt idx="292">
                  <c:v>730.98189300411525</c:v>
                </c:pt>
                <c:pt idx="293">
                  <c:v>762.03374485596714</c:v>
                </c:pt>
                <c:pt idx="294">
                  <c:v>779.80246913580243</c:v>
                </c:pt>
                <c:pt idx="295">
                  <c:v>782.17530864197533</c:v>
                </c:pt>
                <c:pt idx="296">
                  <c:v>800.04691358024684</c:v>
                </c:pt>
                <c:pt idx="297">
                  <c:v>812.79259259259254</c:v>
                </c:pt>
                <c:pt idx="298">
                  <c:v>823.15720164609058</c:v>
                </c:pt>
                <c:pt idx="299">
                  <c:v>784.36790123456785</c:v>
                </c:pt>
                <c:pt idx="300">
                  <c:v>767.30123456790113</c:v>
                </c:pt>
                <c:pt idx="301">
                  <c:v>740.40411522633747</c:v>
                </c:pt>
                <c:pt idx="302">
                  <c:v>717.03703703703707</c:v>
                </c:pt>
                <c:pt idx="303">
                  <c:v>710.17037037037039</c:v>
                </c:pt>
                <c:pt idx="304">
                  <c:v>678.18930041152271</c:v>
                </c:pt>
                <c:pt idx="305">
                  <c:v>643.22139917695461</c:v>
                </c:pt>
                <c:pt idx="306">
                  <c:v>620.43292181069955</c:v>
                </c:pt>
                <c:pt idx="307">
                  <c:v>671.95802469135799</c:v>
                </c:pt>
                <c:pt idx="308">
                  <c:v>688.15967078189294</c:v>
                </c:pt>
                <c:pt idx="309">
                  <c:v>626.98436213991772</c:v>
                </c:pt>
                <c:pt idx="310">
                  <c:v>599.40493827160481</c:v>
                </c:pt>
                <c:pt idx="311">
                  <c:v>610.61728395061721</c:v>
                </c:pt>
                <c:pt idx="312">
                  <c:v>599.164609053498</c:v>
                </c:pt>
                <c:pt idx="313">
                  <c:v>619.63539094650207</c:v>
                </c:pt>
                <c:pt idx="314">
                  <c:v>611.75802469135795</c:v>
                </c:pt>
                <c:pt idx="315">
                  <c:v>587.88971193415637</c:v>
                </c:pt>
                <c:pt idx="316">
                  <c:v>517.20164609053495</c:v>
                </c:pt>
                <c:pt idx="317">
                  <c:v>533.35720164609052</c:v>
                </c:pt>
                <c:pt idx="318">
                  <c:v>558.47160493827153</c:v>
                </c:pt>
                <c:pt idx="319">
                  <c:v>541.04609053497938</c:v>
                </c:pt>
                <c:pt idx="320">
                  <c:v>530.05267489711935</c:v>
                </c:pt>
                <c:pt idx="321">
                  <c:v>506.13744855967076</c:v>
                </c:pt>
                <c:pt idx="322">
                  <c:v>507.60740740740744</c:v>
                </c:pt>
                <c:pt idx="323">
                  <c:v>521.64609053497941</c:v>
                </c:pt>
                <c:pt idx="324">
                  <c:v>543.10370370370367</c:v>
                </c:pt>
                <c:pt idx="325">
                  <c:v>520.46995884773662</c:v>
                </c:pt>
                <c:pt idx="326">
                  <c:v>497.58930041152257</c:v>
                </c:pt>
                <c:pt idx="327">
                  <c:v>505.3497942386831</c:v>
                </c:pt>
                <c:pt idx="328">
                  <c:v>459.1769547325103</c:v>
                </c:pt>
                <c:pt idx="329">
                  <c:v>490.54074074074077</c:v>
                </c:pt>
                <c:pt idx="330">
                  <c:v>529.07736625514406</c:v>
                </c:pt>
                <c:pt idx="331">
                  <c:v>532.5925925925925</c:v>
                </c:pt>
                <c:pt idx="332">
                  <c:v>509.41810699588473</c:v>
                </c:pt>
                <c:pt idx="333">
                  <c:v>523.39835390946496</c:v>
                </c:pt>
                <c:pt idx="334">
                  <c:v>528.78930041152262</c:v>
                </c:pt>
                <c:pt idx="335">
                  <c:v>519.47242798353909</c:v>
                </c:pt>
                <c:pt idx="336">
                  <c:v>505.64362139917688</c:v>
                </c:pt>
                <c:pt idx="337">
                  <c:v>486.18436213991771</c:v>
                </c:pt>
                <c:pt idx="338">
                  <c:v>466.2312757201646</c:v>
                </c:pt>
                <c:pt idx="339">
                  <c:v>490.79341563786005</c:v>
                </c:pt>
                <c:pt idx="340">
                  <c:v>501.48148148148152</c:v>
                </c:pt>
                <c:pt idx="341">
                  <c:v>499.64691358024692</c:v>
                </c:pt>
                <c:pt idx="342">
                  <c:v>518.50699588477369</c:v>
                </c:pt>
                <c:pt idx="343">
                  <c:v>543.84444444444443</c:v>
                </c:pt>
                <c:pt idx="344">
                  <c:v>534.33251028806592</c:v>
                </c:pt>
                <c:pt idx="345">
                  <c:v>590.62880658436211</c:v>
                </c:pt>
                <c:pt idx="346">
                  <c:v>589.08888888888885</c:v>
                </c:pt>
                <c:pt idx="347">
                  <c:v>572.85843621399181</c:v>
                </c:pt>
                <c:pt idx="348">
                  <c:v>585.79670781893003</c:v>
                </c:pt>
                <c:pt idx="349">
                  <c:v>546.61975308641968</c:v>
                </c:pt>
                <c:pt idx="350">
                  <c:v>549.57119341563794</c:v>
                </c:pt>
                <c:pt idx="351">
                  <c:v>567.60740740740744</c:v>
                </c:pt>
                <c:pt idx="352">
                  <c:v>567.93662551440332</c:v>
                </c:pt>
                <c:pt idx="353">
                  <c:v>579.43786008230461</c:v>
                </c:pt>
                <c:pt idx="354">
                  <c:v>598.34238683127569</c:v>
                </c:pt>
                <c:pt idx="355">
                  <c:v>618.41069958847731</c:v>
                </c:pt>
                <c:pt idx="356">
                  <c:v>611.44032921810708</c:v>
                </c:pt>
                <c:pt idx="357">
                  <c:v>612.06337448559668</c:v>
                </c:pt>
                <c:pt idx="358">
                  <c:v>617.27325102880661</c:v>
                </c:pt>
                <c:pt idx="359">
                  <c:v>611.16954732510283</c:v>
                </c:pt>
                <c:pt idx="360">
                  <c:v>653.81563786008223</c:v>
                </c:pt>
                <c:pt idx="361">
                  <c:v>658.46008230452662</c:v>
                </c:pt>
                <c:pt idx="362">
                  <c:v>651.8872427983539</c:v>
                </c:pt>
                <c:pt idx="363">
                  <c:v>645.52592592592589</c:v>
                </c:pt>
                <c:pt idx="364">
                  <c:v>658.54238683127573</c:v>
                </c:pt>
                <c:pt idx="365">
                  <c:v>636.07325102880657</c:v>
                </c:pt>
                <c:pt idx="366">
                  <c:v>626.61975308641968</c:v>
                </c:pt>
                <c:pt idx="367">
                  <c:v>635.70864197530864</c:v>
                </c:pt>
                <c:pt idx="368">
                  <c:v>642.05761316872429</c:v>
                </c:pt>
                <c:pt idx="369">
                  <c:v>588.59506172839508</c:v>
                </c:pt>
                <c:pt idx="370">
                  <c:v>611.02880658436209</c:v>
                </c:pt>
                <c:pt idx="371">
                  <c:v>639.61234567901238</c:v>
                </c:pt>
                <c:pt idx="372">
                  <c:v>617.57777777777778</c:v>
                </c:pt>
                <c:pt idx="373">
                  <c:v>618.74156378600821</c:v>
                </c:pt>
                <c:pt idx="374">
                  <c:v>623.67983539094655</c:v>
                </c:pt>
                <c:pt idx="375">
                  <c:v>616.91934156378591</c:v>
                </c:pt>
                <c:pt idx="376">
                  <c:v>626.53744855967079</c:v>
                </c:pt>
                <c:pt idx="377">
                  <c:v>631.22880658436213</c:v>
                </c:pt>
                <c:pt idx="378">
                  <c:v>625.30288065843615</c:v>
                </c:pt>
                <c:pt idx="379">
                  <c:v>610.9465020576132</c:v>
                </c:pt>
                <c:pt idx="380">
                  <c:v>617.21316872427985</c:v>
                </c:pt>
                <c:pt idx="381">
                  <c:v>672.47489711934145</c:v>
                </c:pt>
                <c:pt idx="382">
                  <c:v>696.74320987654323</c:v>
                </c:pt>
                <c:pt idx="383">
                  <c:v>688.4683127572016</c:v>
                </c:pt>
                <c:pt idx="384">
                  <c:v>702.53991769547315</c:v>
                </c:pt>
                <c:pt idx="385">
                  <c:v>722.08148148148143</c:v>
                </c:pt>
                <c:pt idx="386">
                  <c:v>744.26831275720167</c:v>
                </c:pt>
                <c:pt idx="387">
                  <c:v>759.04773662551429</c:v>
                </c:pt>
                <c:pt idx="388">
                  <c:v>751.27572016460908</c:v>
                </c:pt>
                <c:pt idx="389">
                  <c:v>748.23045267489704</c:v>
                </c:pt>
                <c:pt idx="390">
                  <c:v>757.03703703703707</c:v>
                </c:pt>
                <c:pt idx="391">
                  <c:v>773.90946502057614</c:v>
                </c:pt>
                <c:pt idx="392">
                  <c:v>783.7037037037037</c:v>
                </c:pt>
                <c:pt idx="393">
                  <c:v>777.20164609053506</c:v>
                </c:pt>
                <c:pt idx="394">
                  <c:v>803.87654320987656</c:v>
                </c:pt>
                <c:pt idx="395">
                  <c:v>791.19341563786008</c:v>
                </c:pt>
                <c:pt idx="396">
                  <c:v>779.753086419753</c:v>
                </c:pt>
                <c:pt idx="397">
                  <c:v>806.41975308641975</c:v>
                </c:pt>
                <c:pt idx="398">
                  <c:v>833.90946502057602</c:v>
                </c:pt>
                <c:pt idx="399">
                  <c:v>843.6213991769547</c:v>
                </c:pt>
                <c:pt idx="400">
                  <c:v>814.5679012345679</c:v>
                </c:pt>
                <c:pt idx="401">
                  <c:v>836.70781893004107</c:v>
                </c:pt>
                <c:pt idx="402">
                  <c:v>830.94650205761309</c:v>
                </c:pt>
                <c:pt idx="403">
                  <c:v>829.21810699588468</c:v>
                </c:pt>
                <c:pt idx="404">
                  <c:v>819.91769547325111</c:v>
                </c:pt>
                <c:pt idx="405">
                  <c:v>829.05349794238691</c:v>
                </c:pt>
                <c:pt idx="406">
                  <c:v>803.86831275720158</c:v>
                </c:pt>
                <c:pt idx="407">
                  <c:v>866.00823045267475</c:v>
                </c:pt>
                <c:pt idx="408">
                  <c:v>888.88888888888891</c:v>
                </c:pt>
                <c:pt idx="409">
                  <c:v>897.20164609053495</c:v>
                </c:pt>
                <c:pt idx="410">
                  <c:v>939.75308641975312</c:v>
                </c:pt>
                <c:pt idx="411">
                  <c:v>958.60082304526748</c:v>
                </c:pt>
                <c:pt idx="412">
                  <c:v>978.84773662551436</c:v>
                </c:pt>
                <c:pt idx="413">
                  <c:v>946.50205761316874</c:v>
                </c:pt>
                <c:pt idx="414">
                  <c:v>903.12757201646093</c:v>
                </c:pt>
                <c:pt idx="415">
                  <c:v>919.99999999999989</c:v>
                </c:pt>
                <c:pt idx="416">
                  <c:v>938.18930041152248</c:v>
                </c:pt>
                <c:pt idx="417">
                  <c:v>899.835390946502</c:v>
                </c:pt>
                <c:pt idx="418">
                  <c:v>921.8930041152264</c:v>
                </c:pt>
                <c:pt idx="419">
                  <c:v>872.34567901234573</c:v>
                </c:pt>
                <c:pt idx="420">
                  <c:v>929.87654320987656</c:v>
                </c:pt>
                <c:pt idx="421">
                  <c:v>964.27983539094646</c:v>
                </c:pt>
                <c:pt idx="422">
                  <c:v>978.84773662551436</c:v>
                </c:pt>
                <c:pt idx="423">
                  <c:v>1045.9259259259259</c:v>
                </c:pt>
                <c:pt idx="424">
                  <c:v>1065.8024691358025</c:v>
                </c:pt>
                <c:pt idx="425">
                  <c:v>1057.2839506172841</c:v>
                </c:pt>
                <c:pt idx="426">
                  <c:v>1041.9753086419753</c:v>
                </c:pt>
                <c:pt idx="427">
                  <c:v>1017.2016460905351</c:v>
                </c:pt>
                <c:pt idx="428">
                  <c:v>1036.2139917695474</c:v>
                </c:pt>
                <c:pt idx="429">
                  <c:v>1014.40329218107</c:v>
                </c:pt>
                <c:pt idx="430">
                  <c:v>1031.4403292181069</c:v>
                </c:pt>
                <c:pt idx="431">
                  <c:v>1046.0905349794239</c:v>
                </c:pt>
                <c:pt idx="432">
                  <c:v>1026.7489711934156</c:v>
                </c:pt>
                <c:pt idx="433">
                  <c:v>1072.2633744855966</c:v>
                </c:pt>
                <c:pt idx="434">
                  <c:v>1061.3168724279835</c:v>
                </c:pt>
                <c:pt idx="435">
                  <c:v>1050.3703703703702</c:v>
                </c:pt>
                <c:pt idx="436">
                  <c:v>1059.8353909465022</c:v>
                </c:pt>
                <c:pt idx="437">
                  <c:v>1090.864197530864</c:v>
                </c:pt>
                <c:pt idx="438">
                  <c:v>1072.2633744855966</c:v>
                </c:pt>
                <c:pt idx="439">
                  <c:v>1058.8477366255145</c:v>
                </c:pt>
                <c:pt idx="440">
                  <c:v>1046.6666666666667</c:v>
                </c:pt>
                <c:pt idx="441">
                  <c:v>1041.9753086419753</c:v>
                </c:pt>
                <c:pt idx="442">
                  <c:v>1043.2098765432097</c:v>
                </c:pt>
                <c:pt idx="443">
                  <c:v>1040.6584362139918</c:v>
                </c:pt>
                <c:pt idx="444">
                  <c:v>1014.6502057613169</c:v>
                </c:pt>
                <c:pt idx="445">
                  <c:v>1066.8312757201645</c:v>
                </c:pt>
                <c:pt idx="446">
                  <c:v>1024.6913580246912</c:v>
                </c:pt>
                <c:pt idx="447">
                  <c:v>998.35390946502048</c:v>
                </c:pt>
                <c:pt idx="448">
                  <c:v>950.7818930041152</c:v>
                </c:pt>
                <c:pt idx="449">
                  <c:v>954.4032921810699</c:v>
                </c:pt>
                <c:pt idx="450">
                  <c:v>870.45267489711944</c:v>
                </c:pt>
                <c:pt idx="451">
                  <c:v>932.42798353909461</c:v>
                </c:pt>
                <c:pt idx="452">
                  <c:v>899.34156378600824</c:v>
                </c:pt>
                <c:pt idx="453">
                  <c:v>939.99999999999989</c:v>
                </c:pt>
                <c:pt idx="454">
                  <c:v>933.74485596707814</c:v>
                </c:pt>
                <c:pt idx="455">
                  <c:v>944.11522633744858</c:v>
                </c:pt>
                <c:pt idx="456">
                  <c:v>908.47736625514392</c:v>
                </c:pt>
                <c:pt idx="457">
                  <c:v>922.79835390946494</c:v>
                </c:pt>
                <c:pt idx="458">
                  <c:v>913.90946502057614</c:v>
                </c:pt>
                <c:pt idx="459">
                  <c:v>980.08230452674889</c:v>
                </c:pt>
                <c:pt idx="460">
                  <c:v>983.5390946502057</c:v>
                </c:pt>
                <c:pt idx="461">
                  <c:v>996.37860082304519</c:v>
                </c:pt>
                <c:pt idx="462">
                  <c:v>924.60905349794234</c:v>
                </c:pt>
                <c:pt idx="463">
                  <c:v>981.89300411522618</c:v>
                </c:pt>
                <c:pt idx="464">
                  <c:v>969.62962962962956</c:v>
                </c:pt>
                <c:pt idx="465">
                  <c:v>979.67078189300412</c:v>
                </c:pt>
                <c:pt idx="466">
                  <c:v>931.52263374485608</c:v>
                </c:pt>
                <c:pt idx="467">
                  <c:v>872.67489711934161</c:v>
                </c:pt>
                <c:pt idx="468">
                  <c:v>889.13580246913591</c:v>
                </c:pt>
                <c:pt idx="469">
                  <c:v>866.33744855967086</c:v>
                </c:pt>
                <c:pt idx="470">
                  <c:v>798.0246913580246</c:v>
                </c:pt>
                <c:pt idx="471">
                  <c:v>799.42386831275712</c:v>
                </c:pt>
                <c:pt idx="472">
                  <c:v>834.73251028806578</c:v>
                </c:pt>
                <c:pt idx="473">
                  <c:v>801.15226337448564</c:v>
                </c:pt>
                <c:pt idx="474">
                  <c:v>773.82716049382714</c:v>
                </c:pt>
                <c:pt idx="475">
                  <c:v>773.58024691358014</c:v>
                </c:pt>
                <c:pt idx="476">
                  <c:v>790.45267489711944</c:v>
                </c:pt>
                <c:pt idx="477">
                  <c:v>797.61316872427972</c:v>
                </c:pt>
                <c:pt idx="478">
                  <c:v>847.81893004115238</c:v>
                </c:pt>
                <c:pt idx="479">
                  <c:v>841.64609053497941</c:v>
                </c:pt>
                <c:pt idx="480">
                  <c:v>871.76954732510285</c:v>
                </c:pt>
                <c:pt idx="481">
                  <c:v>869.71193415637856</c:v>
                </c:pt>
                <c:pt idx="482">
                  <c:v>905.26748971193399</c:v>
                </c:pt>
                <c:pt idx="483">
                  <c:v>894.3209876543209</c:v>
                </c:pt>
                <c:pt idx="484">
                  <c:v>904.11522633744858</c:v>
                </c:pt>
                <c:pt idx="485">
                  <c:v>869.79423868312756</c:v>
                </c:pt>
                <c:pt idx="486">
                  <c:v>771.52263374485597</c:v>
                </c:pt>
                <c:pt idx="487">
                  <c:v>763.12757201646082</c:v>
                </c:pt>
                <c:pt idx="488">
                  <c:v>745.02057613168722</c:v>
                </c:pt>
                <c:pt idx="489">
                  <c:v>783.7037037037037</c:v>
                </c:pt>
                <c:pt idx="490">
                  <c:v>825.92592592592575</c:v>
                </c:pt>
                <c:pt idx="491">
                  <c:v>805.92592592592587</c:v>
                </c:pt>
                <c:pt idx="492">
                  <c:v>813.41563786008226</c:v>
                </c:pt>
                <c:pt idx="493">
                  <c:v>784.60905349794234</c:v>
                </c:pt>
                <c:pt idx="494">
                  <c:v>768.72427983539092</c:v>
                </c:pt>
                <c:pt idx="495">
                  <c:v>789.2181069958848</c:v>
                </c:pt>
                <c:pt idx="496">
                  <c:v>795.72016460905354</c:v>
                </c:pt>
                <c:pt idx="497">
                  <c:v>813.00411522633738</c:v>
                </c:pt>
                <c:pt idx="498">
                  <c:v>812.01646090534985</c:v>
                </c:pt>
                <c:pt idx="499">
                  <c:v>857.69547325102872</c:v>
                </c:pt>
                <c:pt idx="500">
                  <c:v>884.60905349794245</c:v>
                </c:pt>
                <c:pt idx="501">
                  <c:v>890.37037037037032</c:v>
                </c:pt>
                <c:pt idx="502">
                  <c:v>900.082304526749</c:v>
                </c:pt>
                <c:pt idx="503">
                  <c:v>880.16460905349788</c:v>
                </c:pt>
                <c:pt idx="504">
                  <c:v>886.66666666666674</c:v>
                </c:pt>
                <c:pt idx="505">
                  <c:v>848.80658436213992</c:v>
                </c:pt>
                <c:pt idx="506">
                  <c:v>945.84362139917687</c:v>
                </c:pt>
                <c:pt idx="507">
                  <c:v>927.65432098765427</c:v>
                </c:pt>
                <c:pt idx="508">
                  <c:v>930.45267489711932</c:v>
                </c:pt>
                <c:pt idx="509">
                  <c:v>938.76543209876536</c:v>
                </c:pt>
                <c:pt idx="510">
                  <c:v>968.14814814814804</c:v>
                </c:pt>
                <c:pt idx="511">
                  <c:v>959.670781893004</c:v>
                </c:pt>
                <c:pt idx="512">
                  <c:v>935.96707818930031</c:v>
                </c:pt>
                <c:pt idx="513">
                  <c:v>895.80246913580254</c:v>
                </c:pt>
                <c:pt idx="514">
                  <c:v>892.42798353909461</c:v>
                </c:pt>
                <c:pt idx="515">
                  <c:v>905.84362139917687</c:v>
                </c:pt>
                <c:pt idx="516">
                  <c:v>920.08230452674911</c:v>
                </c:pt>
              </c:numCache>
            </c:numRef>
          </c:val>
          <c:smooth val="0"/>
        </c:ser>
        <c:dLbls>
          <c:showLegendKey val="0"/>
          <c:showVal val="0"/>
          <c:showCatName val="0"/>
          <c:showSerName val="0"/>
          <c:showPercent val="0"/>
          <c:showBubbleSize val="0"/>
        </c:dLbls>
        <c:marker val="1"/>
        <c:smooth val="0"/>
        <c:axId val="139524352"/>
        <c:axId val="139530240"/>
      </c:lineChart>
      <c:dateAx>
        <c:axId val="139524352"/>
        <c:scaling>
          <c:orientation val="minMax"/>
        </c:scaling>
        <c:delete val="0"/>
        <c:axPos val="b"/>
        <c:numFmt formatCode="m/d/yyyy" sourceLinked="1"/>
        <c:majorTickMark val="out"/>
        <c:minorTickMark val="none"/>
        <c:tickLblPos val="nextTo"/>
        <c:crossAx val="139530240"/>
        <c:crosses val="autoZero"/>
        <c:auto val="1"/>
        <c:lblOffset val="100"/>
        <c:baseTimeUnit val="days"/>
      </c:dateAx>
      <c:valAx>
        <c:axId val="139530240"/>
        <c:scaling>
          <c:logBase val="2"/>
          <c:orientation val="minMax"/>
        </c:scaling>
        <c:delete val="0"/>
        <c:axPos val="l"/>
        <c:majorGridlines>
          <c:spPr>
            <a:ln>
              <a:solidFill>
                <a:schemeClr val="bg1">
                  <a:lumMod val="85000"/>
                </a:schemeClr>
              </a:solidFill>
            </a:ln>
          </c:spPr>
        </c:majorGridlines>
        <c:numFmt formatCode="#,##0.00" sourceLinked="0"/>
        <c:majorTickMark val="out"/>
        <c:minorTickMark val="none"/>
        <c:tickLblPos val="nextTo"/>
        <c:crossAx val="139524352"/>
        <c:crosses val="autoZero"/>
        <c:crossBetween val="between"/>
      </c:valAx>
      <c:valAx>
        <c:axId val="139531776"/>
        <c:scaling>
          <c:orientation val="minMax"/>
        </c:scaling>
        <c:delete val="0"/>
        <c:axPos val="r"/>
        <c:numFmt formatCode="General" sourceLinked="1"/>
        <c:majorTickMark val="out"/>
        <c:minorTickMark val="none"/>
        <c:tickLblPos val="nextTo"/>
        <c:crossAx val="139533312"/>
        <c:crosses val="max"/>
        <c:crossBetween val="between"/>
      </c:valAx>
      <c:dateAx>
        <c:axId val="139533312"/>
        <c:scaling>
          <c:orientation val="minMax"/>
        </c:scaling>
        <c:delete val="1"/>
        <c:axPos val="b"/>
        <c:numFmt formatCode="m/d/yyyy" sourceLinked="1"/>
        <c:majorTickMark val="out"/>
        <c:minorTickMark val="none"/>
        <c:tickLblPos val="none"/>
        <c:crossAx val="139531776"/>
        <c:crosses val="autoZero"/>
        <c:auto val="1"/>
        <c:lblOffset val="100"/>
        <c:baseTimeUnit val="days"/>
      </c:dateAx>
      <c:spPr>
        <a:noFill/>
        <a:ln>
          <a:noFill/>
        </a:ln>
      </c:spPr>
    </c:plotArea>
    <c:legend>
      <c:legendPos val="r"/>
      <c:layout>
        <c:manualLayout>
          <c:xMode val="edge"/>
          <c:yMode val="edge"/>
          <c:x val="9.5394651011089376E-2"/>
          <c:y val="0.36765150773455918"/>
          <c:w val="0.29012393998695374"/>
          <c:h val="0.15475178233745843"/>
        </c:manualLayout>
      </c:layout>
      <c:overlay val="0"/>
    </c:legend>
    <c:plotVisOnly val="1"/>
    <c:dispBlanksAs val="gap"/>
    <c:showDLblsOverMax val="0"/>
  </c:chart>
  <c:spPr>
    <a:noFill/>
    <a:ln>
      <a:no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6B68690-C9B2-4106-8EC1-9ABD258761E3}" type="datetimeFigureOut">
              <a:rPr lang="el-GR" smtClean="0"/>
              <a:t>28/Μαρ/2017</a:t>
            </a:fld>
            <a:endParaRPr lang="el-GR"/>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l-G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l-G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6DFEA7-E4AB-4861-BBED-02B6F033943E}" type="slidenum">
              <a:rPr lang="el-GR" smtClean="0"/>
              <a:t>‹#›</a:t>
            </a:fld>
            <a:endParaRPr lang="el-GR"/>
          </a:p>
        </p:txBody>
      </p:sp>
    </p:spTree>
    <p:extLst>
      <p:ext uri="{BB962C8B-B14F-4D97-AF65-F5344CB8AC3E}">
        <p14:creationId xmlns:p14="http://schemas.microsoft.com/office/powerpoint/2010/main" val="38408062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8850" eaLnBrk="0" hangingPunct="0">
              <a:spcBef>
                <a:spcPct val="30000"/>
              </a:spcBef>
              <a:defRPr sz="1200">
                <a:solidFill>
                  <a:schemeClr val="tx1"/>
                </a:solidFill>
                <a:latin typeface="Times New Roman" pitchFamily="18" charset="0"/>
              </a:defRPr>
            </a:lvl1pPr>
            <a:lvl2pPr marL="742950" indent="-285750" defTabSz="958850" eaLnBrk="0" hangingPunct="0">
              <a:spcBef>
                <a:spcPct val="30000"/>
              </a:spcBef>
              <a:defRPr sz="1200">
                <a:solidFill>
                  <a:schemeClr val="tx1"/>
                </a:solidFill>
                <a:latin typeface="Times New Roman" pitchFamily="18" charset="0"/>
              </a:defRPr>
            </a:lvl2pPr>
            <a:lvl3pPr marL="1143000" indent="-228600" defTabSz="958850" eaLnBrk="0" hangingPunct="0">
              <a:spcBef>
                <a:spcPct val="30000"/>
              </a:spcBef>
              <a:defRPr sz="1200">
                <a:solidFill>
                  <a:schemeClr val="tx1"/>
                </a:solidFill>
                <a:latin typeface="Times New Roman" pitchFamily="18" charset="0"/>
              </a:defRPr>
            </a:lvl3pPr>
            <a:lvl4pPr marL="1600200" indent="-228600" defTabSz="958850" eaLnBrk="0" hangingPunct="0">
              <a:spcBef>
                <a:spcPct val="30000"/>
              </a:spcBef>
              <a:defRPr sz="1200">
                <a:solidFill>
                  <a:schemeClr val="tx1"/>
                </a:solidFill>
                <a:latin typeface="Times New Roman" pitchFamily="18" charset="0"/>
              </a:defRPr>
            </a:lvl4pPr>
            <a:lvl5pPr marL="2057400" indent="-228600" defTabSz="958850" eaLnBrk="0" hangingPunct="0">
              <a:spcBef>
                <a:spcPct val="30000"/>
              </a:spcBef>
              <a:defRPr sz="1200">
                <a:solidFill>
                  <a:schemeClr val="tx1"/>
                </a:solidFill>
                <a:latin typeface="Times New Roman" pitchFamily="18" charset="0"/>
              </a:defRPr>
            </a:lvl5pPr>
            <a:lvl6pPr marL="2514600" indent="-228600" defTabSz="958850" eaLnBrk="0" fontAlgn="base" hangingPunct="0">
              <a:spcBef>
                <a:spcPct val="30000"/>
              </a:spcBef>
              <a:spcAft>
                <a:spcPct val="0"/>
              </a:spcAft>
              <a:defRPr sz="1200">
                <a:solidFill>
                  <a:schemeClr val="tx1"/>
                </a:solidFill>
                <a:latin typeface="Times New Roman" pitchFamily="18" charset="0"/>
              </a:defRPr>
            </a:lvl6pPr>
            <a:lvl7pPr marL="2971800" indent="-228600" defTabSz="958850" eaLnBrk="0" fontAlgn="base" hangingPunct="0">
              <a:spcBef>
                <a:spcPct val="30000"/>
              </a:spcBef>
              <a:spcAft>
                <a:spcPct val="0"/>
              </a:spcAft>
              <a:defRPr sz="1200">
                <a:solidFill>
                  <a:schemeClr val="tx1"/>
                </a:solidFill>
                <a:latin typeface="Times New Roman" pitchFamily="18" charset="0"/>
              </a:defRPr>
            </a:lvl7pPr>
            <a:lvl8pPr marL="3429000" indent="-228600" defTabSz="958850" eaLnBrk="0" fontAlgn="base" hangingPunct="0">
              <a:spcBef>
                <a:spcPct val="30000"/>
              </a:spcBef>
              <a:spcAft>
                <a:spcPct val="0"/>
              </a:spcAft>
              <a:defRPr sz="1200">
                <a:solidFill>
                  <a:schemeClr val="tx1"/>
                </a:solidFill>
                <a:latin typeface="Times New Roman" pitchFamily="18" charset="0"/>
              </a:defRPr>
            </a:lvl8pPr>
            <a:lvl9pPr marL="3886200" indent="-228600" defTabSz="958850"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E4853C3C-8CDC-4061-A0A3-04273123E66D}" type="slidenum">
              <a:rPr lang="el-GR" altLang="el-GR" sz="1300" smtClean="0"/>
              <a:pPr eaLnBrk="1" hangingPunct="1">
                <a:spcBef>
                  <a:spcPct val="0"/>
                </a:spcBef>
              </a:pPr>
              <a:t>2</a:t>
            </a:fld>
            <a:endParaRPr lang="el-GR" altLang="el-GR" sz="1300" smtClean="0"/>
          </a:p>
        </p:txBody>
      </p:sp>
      <p:sp>
        <p:nvSpPr>
          <p:cNvPr id="221187" name="Rectangle 2"/>
          <p:cNvSpPr>
            <a:spLocks noGrp="1" noRot="1" noChangeAspect="1" noChangeArrowheads="1" noTextEdit="1"/>
          </p:cNvSpPr>
          <p:nvPr>
            <p:ph type="sldImg"/>
          </p:nvPr>
        </p:nvSpPr>
        <p:spPr>
          <a:xfrm>
            <a:off x="1143000" y="685800"/>
            <a:ext cx="4572000" cy="3429000"/>
          </a:xfrm>
          <a:ln/>
        </p:spPr>
      </p:sp>
      <p:sp>
        <p:nvSpPr>
          <p:cNvPr id="2211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l-GR"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Rectangle 2"/>
          <p:cNvSpPr>
            <a:spLocks noGrp="1" noRot="1" noChangeAspect="1" noChangeArrowheads="1" noTextEdit="1"/>
          </p:cNvSpPr>
          <p:nvPr>
            <p:ph type="sldImg"/>
          </p:nvPr>
        </p:nvSpPr>
        <p:spPr>
          <a:xfrm>
            <a:off x="1143000" y="685800"/>
            <a:ext cx="4572000" cy="3429000"/>
          </a:xfrm>
          <a:ln/>
        </p:spPr>
      </p:sp>
      <p:sp>
        <p:nvSpPr>
          <p:cNvPr id="2222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l-GR"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oleObject" Target="../embeddings/oleObject2.bin"/><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slideMaster" Target="../slideMasters/slideMaster1.xml"/><Relationship Id="rId4" Type="http://schemas.openxmlformats.org/officeDocument/2006/relationships/tags" Target="../tags/tag3.xml"/><Relationship Id="rId9"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oleObject" Target="../embeddings/oleObject4.bin"/><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3.bin"/><Relationship Id="rId5" Type="http://schemas.openxmlformats.org/officeDocument/2006/relationships/tags" Target="../tags/tag12.xml"/><Relationship Id="rId10" Type="http://schemas.openxmlformats.org/officeDocument/2006/relationships/slideMaster" Target="../slideMasters/slideMaster1.xml"/><Relationship Id="rId4" Type="http://schemas.openxmlformats.org/officeDocument/2006/relationships/tags" Target="../tags/tag11.xml"/><Relationship Id="rId9"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oleObject" Target="../embeddings/oleObject6.bin"/><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oleObject" Target="../embeddings/oleObject5.bin"/><Relationship Id="rId5" Type="http://schemas.openxmlformats.org/officeDocument/2006/relationships/tags" Target="../tags/tag20.xml"/><Relationship Id="rId10" Type="http://schemas.openxmlformats.org/officeDocument/2006/relationships/slideMaster" Target="../slideMasters/slideMaster1.xml"/><Relationship Id="rId4" Type="http://schemas.openxmlformats.org/officeDocument/2006/relationships/tags" Target="../tags/tag19.xml"/><Relationship Id="rId9" Type="http://schemas.openxmlformats.org/officeDocument/2006/relationships/tags" Target="../tags/tag24.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tags" Target="../tags/tag29.xml"/><Relationship Id="rId11" Type="http://schemas.openxmlformats.org/officeDocument/2006/relationships/oleObject" Target="../embeddings/oleObject8.bin"/><Relationship Id="rId5" Type="http://schemas.openxmlformats.org/officeDocument/2006/relationships/tags" Target="../tags/tag28.xml"/><Relationship Id="rId10" Type="http://schemas.openxmlformats.org/officeDocument/2006/relationships/image" Target="../media/image1.emf"/><Relationship Id="rId4" Type="http://schemas.openxmlformats.org/officeDocument/2006/relationships/tags" Target="../tags/tag27.xml"/><Relationship Id="rId9"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l-G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l-GR"/>
          </a:p>
        </p:txBody>
      </p:sp>
      <p:sp>
        <p:nvSpPr>
          <p:cNvPr id="4" name="Date Placeholder 3"/>
          <p:cNvSpPr>
            <a:spLocks noGrp="1"/>
          </p:cNvSpPr>
          <p:nvPr>
            <p:ph type="dt" sz="half" idx="10"/>
          </p:nvPr>
        </p:nvSpPr>
        <p:spPr/>
        <p:txBody>
          <a:bodyPr/>
          <a:lstStyle/>
          <a:p>
            <a:fld id="{AFC5A5DC-FD55-4924-90E2-DEAF4F43C464}" type="datetimeFigureOut">
              <a:rPr lang="el-GR" smtClean="0"/>
              <a:t>28/Μαρ/2017</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25D35487-6DA4-49A6-A7C0-692811044ED5}" type="slidenum">
              <a:rPr lang="el-GR" smtClean="0"/>
              <a:t>‹#›</a:t>
            </a:fld>
            <a:endParaRPr lang="el-GR"/>
          </a:p>
        </p:txBody>
      </p:sp>
    </p:spTree>
    <p:extLst>
      <p:ext uri="{BB962C8B-B14F-4D97-AF65-F5344CB8AC3E}">
        <p14:creationId xmlns:p14="http://schemas.microsoft.com/office/powerpoint/2010/main" val="26247932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Date Placeholder 3"/>
          <p:cNvSpPr>
            <a:spLocks noGrp="1"/>
          </p:cNvSpPr>
          <p:nvPr>
            <p:ph type="dt" sz="half" idx="10"/>
          </p:nvPr>
        </p:nvSpPr>
        <p:spPr/>
        <p:txBody>
          <a:bodyPr/>
          <a:lstStyle/>
          <a:p>
            <a:fld id="{AFC5A5DC-FD55-4924-90E2-DEAF4F43C464}" type="datetimeFigureOut">
              <a:rPr lang="el-GR" smtClean="0"/>
              <a:t>28/Μαρ/2017</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25D35487-6DA4-49A6-A7C0-692811044ED5}" type="slidenum">
              <a:rPr lang="el-GR" smtClean="0"/>
              <a:t>‹#›</a:t>
            </a:fld>
            <a:endParaRPr lang="el-GR"/>
          </a:p>
        </p:txBody>
      </p:sp>
    </p:spTree>
    <p:extLst>
      <p:ext uri="{BB962C8B-B14F-4D97-AF65-F5344CB8AC3E}">
        <p14:creationId xmlns:p14="http://schemas.microsoft.com/office/powerpoint/2010/main" val="36901699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l-G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Date Placeholder 3"/>
          <p:cNvSpPr>
            <a:spLocks noGrp="1"/>
          </p:cNvSpPr>
          <p:nvPr>
            <p:ph type="dt" sz="half" idx="10"/>
          </p:nvPr>
        </p:nvSpPr>
        <p:spPr/>
        <p:txBody>
          <a:bodyPr/>
          <a:lstStyle/>
          <a:p>
            <a:fld id="{AFC5A5DC-FD55-4924-90E2-DEAF4F43C464}" type="datetimeFigureOut">
              <a:rPr lang="el-GR" smtClean="0"/>
              <a:t>28/Μαρ/2017</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25D35487-6DA4-49A6-A7C0-692811044ED5}" type="slidenum">
              <a:rPr lang="el-GR" smtClean="0"/>
              <a:t>‹#›</a:t>
            </a:fld>
            <a:endParaRPr lang="el-GR"/>
          </a:p>
        </p:txBody>
      </p:sp>
    </p:spTree>
    <p:extLst>
      <p:ext uri="{BB962C8B-B14F-4D97-AF65-F5344CB8AC3E}">
        <p14:creationId xmlns:p14="http://schemas.microsoft.com/office/powerpoint/2010/main" val="3387149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13_Section Header">
    <p:spTree>
      <p:nvGrpSpPr>
        <p:cNvPr id="1" name=""/>
        <p:cNvGrpSpPr/>
        <p:nvPr/>
      </p:nvGrpSpPr>
      <p:grpSpPr>
        <a:xfrm>
          <a:off x="0" y="0"/>
          <a:ext cx="0" cy="0"/>
          <a:chOff x="0" y="0"/>
          <a:chExt cx="0" cy="0"/>
        </a:xfrm>
      </p:grpSpPr>
      <p:graphicFrame>
        <p:nvGraphicFramePr>
          <p:cNvPr id="4" name="Object 168"/>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42"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Object 169"/>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43"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AutoShape 441"/>
          <p:cNvSpPr>
            <a:spLocks noChangeArrowheads="1"/>
          </p:cNvSpPr>
          <p:nvPr>
            <p:custDataLst>
              <p:tags r:id="rId4"/>
            </p:custDataLst>
          </p:nvPr>
        </p:nvSpPr>
        <p:spPr bwMode="auto">
          <a:xfrm>
            <a:off x="300405" y="55563"/>
            <a:ext cx="8612065" cy="560387"/>
          </a:xfrm>
          <a:prstGeom prst="roundRect">
            <a:avLst>
              <a:gd name="adj" fmla="val 0"/>
            </a:avLst>
          </a:prstGeom>
          <a:solidFill>
            <a:srgbClr val="D4D8DE"/>
          </a:solidFill>
          <a:ln w="3175">
            <a:noFill/>
            <a:round/>
            <a:headEnd/>
            <a:tailEnd/>
          </a:ln>
        </p:spPr>
        <p:txBody>
          <a:bodyPr anchor="ctr"/>
          <a:lstStyle/>
          <a:p>
            <a:pPr>
              <a:spcBef>
                <a:spcPct val="50000"/>
              </a:spcBef>
              <a:defRPr/>
            </a:pPr>
            <a:endParaRPr lang="en-GB">
              <a:solidFill>
                <a:srgbClr val="FFFFFF"/>
              </a:solidFill>
              <a:latin typeface="Calibri" pitchFamily="34" charset="0"/>
            </a:endParaRPr>
          </a:p>
        </p:txBody>
      </p:sp>
      <p:sp>
        <p:nvSpPr>
          <p:cNvPr id="7" name="AutoShape 441"/>
          <p:cNvSpPr>
            <a:spLocks noChangeArrowheads="1"/>
          </p:cNvSpPr>
          <p:nvPr>
            <p:custDataLst>
              <p:tags r:id="rId5"/>
            </p:custDataLst>
          </p:nvPr>
        </p:nvSpPr>
        <p:spPr bwMode="auto">
          <a:xfrm>
            <a:off x="288681" y="720725"/>
            <a:ext cx="8622323" cy="552450"/>
          </a:xfrm>
          <a:prstGeom prst="roundRect">
            <a:avLst>
              <a:gd name="adj" fmla="val 0"/>
            </a:avLst>
          </a:prstGeom>
          <a:solidFill>
            <a:srgbClr val="D4D8DE"/>
          </a:solidFill>
          <a:ln w="3175">
            <a:noFill/>
            <a:round/>
            <a:headEnd/>
            <a:tailEnd/>
          </a:ln>
        </p:spPr>
        <p:txBody>
          <a:bodyPr anchor="ctr"/>
          <a:lstStyle/>
          <a:p>
            <a:pPr>
              <a:spcBef>
                <a:spcPct val="50000"/>
              </a:spcBef>
              <a:defRPr/>
            </a:pPr>
            <a:endParaRPr lang="en-GB">
              <a:solidFill>
                <a:schemeClr val="tx2"/>
              </a:solidFill>
              <a:latin typeface="Calibri" pitchFamily="34" charset="0"/>
            </a:endParaRPr>
          </a:p>
        </p:txBody>
      </p:sp>
      <p:sp>
        <p:nvSpPr>
          <p:cNvPr id="8" name="AutoShape 441"/>
          <p:cNvSpPr>
            <a:spLocks noChangeArrowheads="1"/>
          </p:cNvSpPr>
          <p:nvPr>
            <p:custDataLst>
              <p:tags r:id="rId6"/>
            </p:custDataLst>
          </p:nvPr>
        </p:nvSpPr>
        <p:spPr bwMode="auto">
          <a:xfrm>
            <a:off x="0" y="322263"/>
            <a:ext cx="9144000" cy="509587"/>
          </a:xfrm>
          <a:prstGeom prst="roundRect">
            <a:avLst>
              <a:gd name="adj" fmla="val 0"/>
            </a:avLst>
          </a:prstGeom>
          <a:solidFill>
            <a:srgbClr val="003366"/>
          </a:solidFill>
          <a:ln w="3175">
            <a:noFill/>
            <a:round/>
            <a:headEnd/>
            <a:tailEnd/>
          </a:ln>
        </p:spPr>
        <p:txBody>
          <a:bodyPr anchor="ctr"/>
          <a:lstStyle/>
          <a:p>
            <a:pPr>
              <a:spcBef>
                <a:spcPct val="50000"/>
              </a:spcBef>
              <a:defRPr/>
            </a:pPr>
            <a:endParaRPr lang="en-GB">
              <a:solidFill>
                <a:srgbClr val="FFFFFF"/>
              </a:solidFill>
              <a:latin typeface="Calibri" pitchFamily="34" charset="0"/>
            </a:endParaRPr>
          </a:p>
        </p:txBody>
      </p:sp>
      <p:sp>
        <p:nvSpPr>
          <p:cNvPr id="9" name="Text Box 251"/>
          <p:cNvSpPr txBox="1">
            <a:spLocks noChangeArrowheads="1"/>
          </p:cNvSpPr>
          <p:nvPr>
            <p:custDataLst>
              <p:tags r:id="rId7"/>
            </p:custDataLst>
          </p:nvPr>
        </p:nvSpPr>
        <p:spPr bwMode="auto">
          <a:xfrm>
            <a:off x="5190392" y="17463"/>
            <a:ext cx="3698631" cy="365125"/>
          </a:xfrm>
          <a:prstGeom prst="rect">
            <a:avLst/>
          </a:prstGeom>
          <a:noFill/>
          <a:ln>
            <a:noFill/>
          </a:ln>
          <a:extLst/>
        </p:spPr>
        <p:txBody>
          <a:bodyPr lIns="36000" tIns="36000" rIns="36000" bIns="3600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ct val="50000"/>
              </a:spcBef>
              <a:defRPr/>
            </a:pPr>
            <a:endParaRPr lang="en-GB" sz="1000" smtClean="0">
              <a:latin typeface="Calibri" pitchFamily="34" charset="0"/>
            </a:endParaRPr>
          </a:p>
        </p:txBody>
      </p:sp>
      <p:sp>
        <p:nvSpPr>
          <p:cNvPr id="11" name="Freeform 13"/>
          <p:cNvSpPr>
            <a:spLocks/>
          </p:cNvSpPr>
          <p:nvPr>
            <p:custDataLst>
              <p:tags r:id="rId8"/>
            </p:custDataLst>
          </p:nvPr>
        </p:nvSpPr>
        <p:spPr bwMode="auto">
          <a:xfrm>
            <a:off x="361951" y="328613"/>
            <a:ext cx="8782050" cy="493712"/>
          </a:xfrm>
          <a:custGeom>
            <a:avLst/>
            <a:gdLst>
              <a:gd name="T0" fmla="*/ 0 w 5961"/>
              <a:gd name="T1" fmla="*/ 783758244 h 310"/>
              <a:gd name="T2" fmla="*/ 2093869111 w 5961"/>
              <a:gd name="T3" fmla="*/ 98920773 h 310"/>
              <a:gd name="T4" fmla="*/ 2147483647 w 5961"/>
              <a:gd name="T5" fmla="*/ 783758244 h 310"/>
              <a:gd name="T6" fmla="*/ 2147483647 w 5961"/>
              <a:gd name="T7" fmla="*/ 114139844 h 310"/>
              <a:gd name="T8" fmla="*/ 2147483647 w 5961"/>
              <a:gd name="T9" fmla="*/ 722885147 h 310"/>
              <a:gd name="T10" fmla="*/ 2147483647 w 5961"/>
              <a:gd name="T11" fmla="*/ 98920773 h 310"/>
              <a:gd name="T12" fmla="*/ 2147483647 w 5961"/>
              <a:gd name="T13" fmla="*/ 129358914 h 3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961" h="310">
                <a:moveTo>
                  <a:pt x="0" y="309"/>
                </a:moveTo>
                <a:cubicBezTo>
                  <a:pt x="243" y="174"/>
                  <a:pt x="486" y="39"/>
                  <a:pt x="822" y="39"/>
                </a:cubicBezTo>
                <a:cubicBezTo>
                  <a:pt x="1158" y="39"/>
                  <a:pt x="1596" y="308"/>
                  <a:pt x="2016" y="309"/>
                </a:cubicBezTo>
                <a:cubicBezTo>
                  <a:pt x="2436" y="310"/>
                  <a:pt x="2925" y="49"/>
                  <a:pt x="3342" y="45"/>
                </a:cubicBezTo>
                <a:cubicBezTo>
                  <a:pt x="3759" y="41"/>
                  <a:pt x="4115" y="286"/>
                  <a:pt x="4518" y="285"/>
                </a:cubicBezTo>
                <a:cubicBezTo>
                  <a:pt x="4921" y="284"/>
                  <a:pt x="5559" y="78"/>
                  <a:pt x="5760" y="39"/>
                </a:cubicBezTo>
                <a:cubicBezTo>
                  <a:pt x="5961" y="0"/>
                  <a:pt x="5730" y="49"/>
                  <a:pt x="5724" y="51"/>
                </a:cubicBezTo>
              </a:path>
            </a:pathLst>
          </a:custGeom>
          <a:noFill/>
          <a:ln w="9525">
            <a:noFill/>
            <a:round/>
            <a:headEnd/>
            <a:tailEnd/>
          </a:ln>
          <a:effectLst>
            <a:prstShdw prst="shdw17" dist="17961" dir="13500000">
              <a:srgbClr val="808080"/>
            </a:prstShdw>
          </a:effectLst>
        </p:spPr>
        <p:txBody>
          <a:bodyPr/>
          <a:lstStyle/>
          <a:p>
            <a:pPr>
              <a:defRPr/>
            </a:pPr>
            <a:endParaRPr lang="el-GR">
              <a:cs typeface="+mn-cs"/>
            </a:endParaRPr>
          </a:p>
        </p:txBody>
      </p:sp>
      <p:sp>
        <p:nvSpPr>
          <p:cNvPr id="12" name="Text Box 70"/>
          <p:cNvSpPr txBox="1">
            <a:spLocks noChangeArrowheads="1"/>
          </p:cNvSpPr>
          <p:nvPr>
            <p:custDataLst>
              <p:tags r:id="rId9"/>
            </p:custDataLst>
          </p:nvPr>
        </p:nvSpPr>
        <p:spPr bwMode="auto">
          <a:xfrm>
            <a:off x="8362950" y="6553200"/>
            <a:ext cx="666750" cy="179388"/>
          </a:xfrm>
          <a:prstGeom prst="rect">
            <a:avLst/>
          </a:prstGeom>
          <a:noFill/>
          <a:ln>
            <a:noFill/>
          </a:ln>
          <a:extLst/>
        </p:spPr>
        <p:txBody>
          <a:bodyPr rIns="54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80000"/>
              </a:lnSpc>
              <a:spcBef>
                <a:spcPct val="50000"/>
              </a:spcBef>
              <a:defRPr/>
            </a:pPr>
            <a:fld id="{A41756F8-B268-4021-B891-93BC879C6BB7}" type="slidenum">
              <a:rPr lang="en-US" sz="700" smtClean="0">
                <a:latin typeface="Calibri" pitchFamily="34" charset="0"/>
              </a:rPr>
              <a:pPr algn="r" eaLnBrk="1" hangingPunct="1">
                <a:lnSpc>
                  <a:spcPct val="80000"/>
                </a:lnSpc>
                <a:spcBef>
                  <a:spcPct val="50000"/>
                </a:spcBef>
                <a:defRPr/>
              </a:pPr>
              <a:t>‹#›</a:t>
            </a:fld>
            <a:endParaRPr lang="en-GB" sz="700" smtClean="0">
              <a:latin typeface="Calibri" pitchFamily="34" charset="0"/>
            </a:endParaRPr>
          </a:p>
        </p:txBody>
      </p:sp>
      <p:sp>
        <p:nvSpPr>
          <p:cNvPr id="31" name="Content Placeholder 30"/>
          <p:cNvSpPr>
            <a:spLocks noGrp="1"/>
          </p:cNvSpPr>
          <p:nvPr>
            <p:ph sz="quarter" idx="10"/>
          </p:nvPr>
        </p:nvSpPr>
        <p:spPr>
          <a:xfrm>
            <a:off x="457200" y="433768"/>
            <a:ext cx="8686800" cy="304800"/>
          </a:xfrm>
        </p:spPr>
        <p:txBody>
          <a:bodyPr anchor="ctr">
            <a:noAutofit/>
          </a:bodyPr>
          <a:lstStyle>
            <a:lvl1pPr marL="0" indent="3175">
              <a:lnSpc>
                <a:spcPts val="1800"/>
              </a:lnSpc>
              <a:buNone/>
              <a:defRPr sz="2000" b="1" baseline="0">
                <a:solidFill>
                  <a:schemeClr val="bg1"/>
                </a:solidFill>
              </a:defRPr>
            </a:lvl1pPr>
          </a:lstStyle>
          <a:p>
            <a:pPr lvl="0"/>
            <a:endParaRPr lang="en-US" dirty="0"/>
          </a:p>
        </p:txBody>
      </p:sp>
      <p:sp>
        <p:nvSpPr>
          <p:cNvPr id="10" name="Content Placeholder 30"/>
          <p:cNvSpPr>
            <a:spLocks noGrp="1"/>
          </p:cNvSpPr>
          <p:nvPr>
            <p:ph sz="quarter" idx="11"/>
          </p:nvPr>
        </p:nvSpPr>
        <p:spPr>
          <a:xfrm>
            <a:off x="472406" y="895093"/>
            <a:ext cx="8416617" cy="304800"/>
          </a:xfrm>
        </p:spPr>
        <p:txBody>
          <a:bodyPr anchor="ctr">
            <a:noAutofit/>
          </a:bodyPr>
          <a:lstStyle>
            <a:lvl1pPr marL="0" indent="3175">
              <a:lnSpc>
                <a:spcPts val="1800"/>
              </a:lnSpc>
              <a:buNone/>
              <a:defRPr sz="1800" b="1" i="1" baseline="0">
                <a:solidFill>
                  <a:schemeClr val="tx1"/>
                </a:solidFill>
              </a:defRPr>
            </a:lvl1pPr>
          </a:lstStyle>
          <a:p>
            <a:pPr lvl="0"/>
            <a:endParaRPr lang="en-US" dirty="0"/>
          </a:p>
        </p:txBody>
      </p:sp>
    </p:spTree>
    <p:extLst>
      <p:ext uri="{BB962C8B-B14F-4D97-AF65-F5344CB8AC3E}">
        <p14:creationId xmlns:p14="http://schemas.microsoft.com/office/powerpoint/2010/main" val="35349379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14_Section Header">
    <p:spTree>
      <p:nvGrpSpPr>
        <p:cNvPr id="1" name=""/>
        <p:cNvGrpSpPr/>
        <p:nvPr/>
      </p:nvGrpSpPr>
      <p:grpSpPr>
        <a:xfrm>
          <a:off x="0" y="0"/>
          <a:ext cx="0" cy="0"/>
          <a:chOff x="0" y="0"/>
          <a:chExt cx="0" cy="0"/>
        </a:xfrm>
      </p:grpSpPr>
      <p:graphicFrame>
        <p:nvGraphicFramePr>
          <p:cNvPr id="4" name="Object 168"/>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6"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Object 169"/>
          <p:cNvGraphicFramePr>
            <a:graphicFrameLocks noChangeAspect="1"/>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067"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AutoShape 441"/>
          <p:cNvSpPr>
            <a:spLocks noChangeArrowheads="1"/>
          </p:cNvSpPr>
          <p:nvPr>
            <p:custDataLst>
              <p:tags r:id="rId4"/>
            </p:custDataLst>
          </p:nvPr>
        </p:nvSpPr>
        <p:spPr bwMode="auto">
          <a:xfrm>
            <a:off x="300405" y="55563"/>
            <a:ext cx="8612065" cy="560387"/>
          </a:xfrm>
          <a:prstGeom prst="roundRect">
            <a:avLst>
              <a:gd name="adj" fmla="val 0"/>
            </a:avLst>
          </a:prstGeom>
          <a:solidFill>
            <a:srgbClr val="D4D8DE"/>
          </a:solidFill>
          <a:ln w="3175">
            <a:noFill/>
            <a:round/>
            <a:headEnd/>
            <a:tailEnd/>
          </a:ln>
        </p:spPr>
        <p:txBody>
          <a:bodyPr anchor="ctr"/>
          <a:lstStyle/>
          <a:p>
            <a:pPr>
              <a:spcBef>
                <a:spcPct val="50000"/>
              </a:spcBef>
              <a:defRPr/>
            </a:pPr>
            <a:endParaRPr lang="en-GB">
              <a:solidFill>
                <a:srgbClr val="FFFFFF"/>
              </a:solidFill>
              <a:latin typeface="Calibri" pitchFamily="34" charset="0"/>
            </a:endParaRPr>
          </a:p>
        </p:txBody>
      </p:sp>
      <p:sp>
        <p:nvSpPr>
          <p:cNvPr id="7" name="AutoShape 441"/>
          <p:cNvSpPr>
            <a:spLocks noChangeArrowheads="1"/>
          </p:cNvSpPr>
          <p:nvPr>
            <p:custDataLst>
              <p:tags r:id="rId5"/>
            </p:custDataLst>
          </p:nvPr>
        </p:nvSpPr>
        <p:spPr bwMode="auto">
          <a:xfrm>
            <a:off x="288681" y="720725"/>
            <a:ext cx="8622323" cy="552450"/>
          </a:xfrm>
          <a:prstGeom prst="roundRect">
            <a:avLst>
              <a:gd name="adj" fmla="val 0"/>
            </a:avLst>
          </a:prstGeom>
          <a:solidFill>
            <a:srgbClr val="D4D8DE"/>
          </a:solidFill>
          <a:ln w="3175">
            <a:noFill/>
            <a:round/>
            <a:headEnd/>
            <a:tailEnd/>
          </a:ln>
        </p:spPr>
        <p:txBody>
          <a:bodyPr anchor="ctr"/>
          <a:lstStyle/>
          <a:p>
            <a:pPr>
              <a:spcBef>
                <a:spcPct val="50000"/>
              </a:spcBef>
              <a:defRPr/>
            </a:pPr>
            <a:endParaRPr lang="en-GB">
              <a:solidFill>
                <a:schemeClr val="tx2"/>
              </a:solidFill>
              <a:latin typeface="Calibri" pitchFamily="34" charset="0"/>
            </a:endParaRPr>
          </a:p>
        </p:txBody>
      </p:sp>
      <p:sp>
        <p:nvSpPr>
          <p:cNvPr id="8" name="AutoShape 441"/>
          <p:cNvSpPr>
            <a:spLocks noChangeArrowheads="1"/>
          </p:cNvSpPr>
          <p:nvPr>
            <p:custDataLst>
              <p:tags r:id="rId6"/>
            </p:custDataLst>
          </p:nvPr>
        </p:nvSpPr>
        <p:spPr bwMode="auto">
          <a:xfrm>
            <a:off x="0" y="322263"/>
            <a:ext cx="9144000" cy="509587"/>
          </a:xfrm>
          <a:prstGeom prst="roundRect">
            <a:avLst>
              <a:gd name="adj" fmla="val 0"/>
            </a:avLst>
          </a:prstGeom>
          <a:solidFill>
            <a:srgbClr val="003366"/>
          </a:solidFill>
          <a:ln w="3175">
            <a:noFill/>
            <a:round/>
            <a:headEnd/>
            <a:tailEnd/>
          </a:ln>
        </p:spPr>
        <p:txBody>
          <a:bodyPr anchor="ctr"/>
          <a:lstStyle/>
          <a:p>
            <a:pPr>
              <a:spcBef>
                <a:spcPct val="50000"/>
              </a:spcBef>
              <a:defRPr/>
            </a:pPr>
            <a:endParaRPr lang="en-GB">
              <a:solidFill>
                <a:srgbClr val="FFFFFF"/>
              </a:solidFill>
              <a:latin typeface="Calibri" pitchFamily="34" charset="0"/>
            </a:endParaRPr>
          </a:p>
        </p:txBody>
      </p:sp>
      <p:sp>
        <p:nvSpPr>
          <p:cNvPr id="9" name="Text Box 251"/>
          <p:cNvSpPr txBox="1">
            <a:spLocks noChangeArrowheads="1"/>
          </p:cNvSpPr>
          <p:nvPr>
            <p:custDataLst>
              <p:tags r:id="rId7"/>
            </p:custDataLst>
          </p:nvPr>
        </p:nvSpPr>
        <p:spPr bwMode="auto">
          <a:xfrm>
            <a:off x="5190392" y="17463"/>
            <a:ext cx="3698631" cy="365125"/>
          </a:xfrm>
          <a:prstGeom prst="rect">
            <a:avLst/>
          </a:prstGeom>
          <a:noFill/>
          <a:ln>
            <a:noFill/>
          </a:ln>
          <a:extLst/>
        </p:spPr>
        <p:txBody>
          <a:bodyPr lIns="36000" tIns="36000" rIns="36000" bIns="3600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ct val="50000"/>
              </a:spcBef>
              <a:defRPr/>
            </a:pPr>
            <a:endParaRPr lang="en-GB" sz="1000" smtClean="0">
              <a:latin typeface="Calibri" pitchFamily="34" charset="0"/>
            </a:endParaRPr>
          </a:p>
        </p:txBody>
      </p:sp>
      <p:sp>
        <p:nvSpPr>
          <p:cNvPr id="11" name="Freeform 13"/>
          <p:cNvSpPr>
            <a:spLocks/>
          </p:cNvSpPr>
          <p:nvPr>
            <p:custDataLst>
              <p:tags r:id="rId8"/>
            </p:custDataLst>
          </p:nvPr>
        </p:nvSpPr>
        <p:spPr bwMode="auto">
          <a:xfrm>
            <a:off x="361951" y="328613"/>
            <a:ext cx="8782050" cy="493712"/>
          </a:xfrm>
          <a:custGeom>
            <a:avLst/>
            <a:gdLst>
              <a:gd name="T0" fmla="*/ 0 w 5961"/>
              <a:gd name="T1" fmla="*/ 783758244 h 310"/>
              <a:gd name="T2" fmla="*/ 2093869111 w 5961"/>
              <a:gd name="T3" fmla="*/ 98920773 h 310"/>
              <a:gd name="T4" fmla="*/ 2147483647 w 5961"/>
              <a:gd name="T5" fmla="*/ 783758244 h 310"/>
              <a:gd name="T6" fmla="*/ 2147483647 w 5961"/>
              <a:gd name="T7" fmla="*/ 114139844 h 310"/>
              <a:gd name="T8" fmla="*/ 2147483647 w 5961"/>
              <a:gd name="T9" fmla="*/ 722885147 h 310"/>
              <a:gd name="T10" fmla="*/ 2147483647 w 5961"/>
              <a:gd name="T11" fmla="*/ 98920773 h 310"/>
              <a:gd name="T12" fmla="*/ 2147483647 w 5961"/>
              <a:gd name="T13" fmla="*/ 129358914 h 3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961" h="310">
                <a:moveTo>
                  <a:pt x="0" y="309"/>
                </a:moveTo>
                <a:cubicBezTo>
                  <a:pt x="243" y="174"/>
                  <a:pt x="486" y="39"/>
                  <a:pt x="822" y="39"/>
                </a:cubicBezTo>
                <a:cubicBezTo>
                  <a:pt x="1158" y="39"/>
                  <a:pt x="1596" y="308"/>
                  <a:pt x="2016" y="309"/>
                </a:cubicBezTo>
                <a:cubicBezTo>
                  <a:pt x="2436" y="310"/>
                  <a:pt x="2925" y="49"/>
                  <a:pt x="3342" y="45"/>
                </a:cubicBezTo>
                <a:cubicBezTo>
                  <a:pt x="3759" y="41"/>
                  <a:pt x="4115" y="286"/>
                  <a:pt x="4518" y="285"/>
                </a:cubicBezTo>
                <a:cubicBezTo>
                  <a:pt x="4921" y="284"/>
                  <a:pt x="5559" y="78"/>
                  <a:pt x="5760" y="39"/>
                </a:cubicBezTo>
                <a:cubicBezTo>
                  <a:pt x="5961" y="0"/>
                  <a:pt x="5730" y="49"/>
                  <a:pt x="5724" y="51"/>
                </a:cubicBezTo>
              </a:path>
            </a:pathLst>
          </a:custGeom>
          <a:noFill/>
          <a:ln w="9525">
            <a:noFill/>
            <a:round/>
            <a:headEnd/>
            <a:tailEnd/>
          </a:ln>
          <a:effectLst>
            <a:prstShdw prst="shdw17" dist="17961" dir="13500000">
              <a:srgbClr val="808080"/>
            </a:prstShdw>
          </a:effectLst>
        </p:spPr>
        <p:txBody>
          <a:bodyPr/>
          <a:lstStyle/>
          <a:p>
            <a:pPr>
              <a:defRPr/>
            </a:pPr>
            <a:endParaRPr lang="el-GR">
              <a:cs typeface="+mn-cs"/>
            </a:endParaRPr>
          </a:p>
        </p:txBody>
      </p:sp>
      <p:sp>
        <p:nvSpPr>
          <p:cNvPr id="12" name="Text Box 70"/>
          <p:cNvSpPr txBox="1">
            <a:spLocks noChangeArrowheads="1"/>
          </p:cNvSpPr>
          <p:nvPr>
            <p:custDataLst>
              <p:tags r:id="rId9"/>
            </p:custDataLst>
          </p:nvPr>
        </p:nvSpPr>
        <p:spPr bwMode="auto">
          <a:xfrm>
            <a:off x="8362950" y="6553200"/>
            <a:ext cx="666750" cy="179388"/>
          </a:xfrm>
          <a:prstGeom prst="rect">
            <a:avLst/>
          </a:prstGeom>
          <a:noFill/>
          <a:ln>
            <a:noFill/>
          </a:ln>
          <a:extLst/>
        </p:spPr>
        <p:txBody>
          <a:bodyPr rIns="54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80000"/>
              </a:lnSpc>
              <a:spcBef>
                <a:spcPct val="50000"/>
              </a:spcBef>
              <a:defRPr/>
            </a:pPr>
            <a:fld id="{A41756F8-B268-4021-B891-93BC879C6BB7}" type="slidenum">
              <a:rPr lang="en-US" sz="700" smtClean="0">
                <a:latin typeface="Calibri" pitchFamily="34" charset="0"/>
              </a:rPr>
              <a:pPr algn="r" eaLnBrk="1" hangingPunct="1">
                <a:lnSpc>
                  <a:spcPct val="80000"/>
                </a:lnSpc>
                <a:spcBef>
                  <a:spcPct val="50000"/>
                </a:spcBef>
                <a:defRPr/>
              </a:pPr>
              <a:t>‹#›</a:t>
            </a:fld>
            <a:endParaRPr lang="en-GB" sz="700" smtClean="0">
              <a:latin typeface="Calibri" pitchFamily="34" charset="0"/>
            </a:endParaRPr>
          </a:p>
        </p:txBody>
      </p:sp>
      <p:sp>
        <p:nvSpPr>
          <p:cNvPr id="31" name="Content Placeholder 30"/>
          <p:cNvSpPr>
            <a:spLocks noGrp="1"/>
          </p:cNvSpPr>
          <p:nvPr>
            <p:ph sz="quarter" idx="10"/>
          </p:nvPr>
        </p:nvSpPr>
        <p:spPr>
          <a:xfrm>
            <a:off x="457200" y="433768"/>
            <a:ext cx="8686800" cy="304800"/>
          </a:xfrm>
        </p:spPr>
        <p:txBody>
          <a:bodyPr anchor="ctr">
            <a:noAutofit/>
          </a:bodyPr>
          <a:lstStyle>
            <a:lvl1pPr marL="0" indent="3175">
              <a:lnSpc>
                <a:spcPts val="1800"/>
              </a:lnSpc>
              <a:buNone/>
              <a:defRPr sz="2000" b="1" baseline="0">
                <a:solidFill>
                  <a:schemeClr val="bg1"/>
                </a:solidFill>
              </a:defRPr>
            </a:lvl1pPr>
          </a:lstStyle>
          <a:p>
            <a:pPr lvl="0"/>
            <a:endParaRPr lang="en-US" dirty="0"/>
          </a:p>
        </p:txBody>
      </p:sp>
      <p:sp>
        <p:nvSpPr>
          <p:cNvPr id="10" name="Content Placeholder 30"/>
          <p:cNvSpPr>
            <a:spLocks noGrp="1"/>
          </p:cNvSpPr>
          <p:nvPr>
            <p:ph sz="quarter" idx="11"/>
          </p:nvPr>
        </p:nvSpPr>
        <p:spPr>
          <a:xfrm>
            <a:off x="472406" y="895093"/>
            <a:ext cx="8416617" cy="304800"/>
          </a:xfrm>
        </p:spPr>
        <p:txBody>
          <a:bodyPr anchor="ctr">
            <a:noAutofit/>
          </a:bodyPr>
          <a:lstStyle>
            <a:lvl1pPr marL="0" indent="3175">
              <a:lnSpc>
                <a:spcPts val="1800"/>
              </a:lnSpc>
              <a:buNone/>
              <a:defRPr sz="1800" b="1" i="1" baseline="0">
                <a:solidFill>
                  <a:schemeClr val="tx1"/>
                </a:solidFill>
              </a:defRPr>
            </a:lvl1pPr>
          </a:lstStyle>
          <a:p>
            <a:pPr lvl="0"/>
            <a:endParaRPr lang="en-US" dirty="0"/>
          </a:p>
        </p:txBody>
      </p:sp>
    </p:spTree>
    <p:extLst>
      <p:ext uri="{BB962C8B-B14F-4D97-AF65-F5344CB8AC3E}">
        <p14:creationId xmlns:p14="http://schemas.microsoft.com/office/powerpoint/2010/main" val="11179607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7_Section Header">
    <p:spTree>
      <p:nvGrpSpPr>
        <p:cNvPr id="1" name=""/>
        <p:cNvGrpSpPr/>
        <p:nvPr/>
      </p:nvGrpSpPr>
      <p:grpSpPr>
        <a:xfrm>
          <a:off x="0" y="0"/>
          <a:ext cx="0" cy="0"/>
          <a:chOff x="0" y="0"/>
          <a:chExt cx="0" cy="0"/>
        </a:xfrm>
      </p:grpSpPr>
      <p:graphicFrame>
        <p:nvGraphicFramePr>
          <p:cNvPr id="4" name="Object 168"/>
          <p:cNvGraphicFramePr>
            <a:graphicFrameLocks noChangeAspect="1"/>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088"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Object 169"/>
          <p:cNvGraphicFramePr>
            <a:graphicFrameLocks noChangeAspect="1"/>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089"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AutoShape 441"/>
          <p:cNvSpPr>
            <a:spLocks noChangeArrowheads="1"/>
          </p:cNvSpPr>
          <p:nvPr userDrawn="1">
            <p:custDataLst>
              <p:tags r:id="rId4"/>
            </p:custDataLst>
          </p:nvPr>
        </p:nvSpPr>
        <p:spPr bwMode="auto">
          <a:xfrm>
            <a:off x="300038" y="55563"/>
            <a:ext cx="8612187" cy="560387"/>
          </a:xfrm>
          <a:prstGeom prst="roundRect">
            <a:avLst>
              <a:gd name="adj" fmla="val 0"/>
            </a:avLst>
          </a:prstGeom>
          <a:solidFill>
            <a:srgbClr val="D4D8DE"/>
          </a:solidFill>
          <a:ln>
            <a:noFill/>
          </a:ln>
          <a:extLst>
            <a:ext uri="{91240B29-F687-4F45-9708-019B960494DF}">
              <a14:hiddenLine xmlns:a14="http://schemas.microsoft.com/office/drawing/2010/main" w="3175">
                <a:solidFill>
                  <a:srgbClr val="000000"/>
                </a:solidFill>
                <a:round/>
                <a:headEnd/>
                <a:tailEnd/>
              </a14:hiddenLine>
            </a:ext>
          </a:extLst>
        </p:spPr>
        <p:txBody>
          <a:bodyPr anchor="ctr"/>
          <a:lstStyle>
            <a:lvl1pPr eaLnBrk="0" hangingPunct="0">
              <a:defRPr>
                <a:solidFill>
                  <a:schemeClr val="tx1"/>
                </a:solidFill>
                <a:latin typeface="Times New Roman" pitchFamily="18" charset="0"/>
              </a:defRPr>
            </a:lvl1pPr>
            <a:lvl2pPr marL="742950" indent="-285750" eaLnBrk="0" hangingPunct="0">
              <a:defRPr>
                <a:solidFill>
                  <a:schemeClr val="tx1"/>
                </a:solidFill>
                <a:latin typeface="Times New Roman" pitchFamily="18" charset="0"/>
              </a:defRPr>
            </a:lvl2pPr>
            <a:lvl3pPr marL="1143000" indent="-228600" eaLnBrk="0" hangingPunct="0">
              <a:defRPr>
                <a:solidFill>
                  <a:schemeClr val="tx1"/>
                </a:solidFill>
                <a:latin typeface="Times New Roman" pitchFamily="18" charset="0"/>
              </a:defRPr>
            </a:lvl3pPr>
            <a:lvl4pPr marL="1600200" indent="-228600" eaLnBrk="0" hangingPunct="0">
              <a:defRPr>
                <a:solidFill>
                  <a:schemeClr val="tx1"/>
                </a:solidFill>
                <a:latin typeface="Times New Roman" pitchFamily="18" charset="0"/>
              </a:defRPr>
            </a:lvl4pPr>
            <a:lvl5pPr marL="2057400" indent="-228600" eaLnBrk="0" hangingPunct="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pPr eaLnBrk="1" hangingPunct="1">
              <a:spcBef>
                <a:spcPct val="50000"/>
              </a:spcBef>
              <a:defRPr/>
            </a:pPr>
            <a:endParaRPr lang="en-GB" altLang="el-GR" smtClean="0">
              <a:solidFill>
                <a:srgbClr val="FFFFFF"/>
              </a:solidFill>
            </a:endParaRPr>
          </a:p>
        </p:txBody>
      </p:sp>
      <p:sp>
        <p:nvSpPr>
          <p:cNvPr id="7" name="AutoShape 441"/>
          <p:cNvSpPr>
            <a:spLocks noChangeArrowheads="1"/>
          </p:cNvSpPr>
          <p:nvPr userDrawn="1">
            <p:custDataLst>
              <p:tags r:id="rId5"/>
            </p:custDataLst>
          </p:nvPr>
        </p:nvSpPr>
        <p:spPr bwMode="auto">
          <a:xfrm>
            <a:off x="288925" y="720725"/>
            <a:ext cx="8621713" cy="552450"/>
          </a:xfrm>
          <a:prstGeom prst="roundRect">
            <a:avLst>
              <a:gd name="adj" fmla="val 0"/>
            </a:avLst>
          </a:prstGeom>
          <a:solidFill>
            <a:srgbClr val="D4D8DE"/>
          </a:solidFill>
          <a:ln>
            <a:noFill/>
          </a:ln>
          <a:extLst>
            <a:ext uri="{91240B29-F687-4F45-9708-019B960494DF}">
              <a14:hiddenLine xmlns:a14="http://schemas.microsoft.com/office/drawing/2010/main" w="3175">
                <a:solidFill>
                  <a:srgbClr val="000000"/>
                </a:solidFill>
                <a:round/>
                <a:headEnd/>
                <a:tailEnd/>
              </a14:hiddenLine>
            </a:ext>
          </a:extLst>
        </p:spPr>
        <p:txBody>
          <a:bodyPr anchor="ctr"/>
          <a:lstStyle>
            <a:lvl1pPr eaLnBrk="0" hangingPunct="0">
              <a:defRPr>
                <a:solidFill>
                  <a:schemeClr val="tx1"/>
                </a:solidFill>
                <a:latin typeface="Times New Roman" pitchFamily="18" charset="0"/>
              </a:defRPr>
            </a:lvl1pPr>
            <a:lvl2pPr marL="742950" indent="-285750" eaLnBrk="0" hangingPunct="0">
              <a:defRPr>
                <a:solidFill>
                  <a:schemeClr val="tx1"/>
                </a:solidFill>
                <a:latin typeface="Times New Roman" pitchFamily="18" charset="0"/>
              </a:defRPr>
            </a:lvl2pPr>
            <a:lvl3pPr marL="1143000" indent="-228600" eaLnBrk="0" hangingPunct="0">
              <a:defRPr>
                <a:solidFill>
                  <a:schemeClr val="tx1"/>
                </a:solidFill>
                <a:latin typeface="Times New Roman" pitchFamily="18" charset="0"/>
              </a:defRPr>
            </a:lvl3pPr>
            <a:lvl4pPr marL="1600200" indent="-228600" eaLnBrk="0" hangingPunct="0">
              <a:defRPr>
                <a:solidFill>
                  <a:schemeClr val="tx1"/>
                </a:solidFill>
                <a:latin typeface="Times New Roman" pitchFamily="18" charset="0"/>
              </a:defRPr>
            </a:lvl4pPr>
            <a:lvl5pPr marL="2057400" indent="-228600" eaLnBrk="0" hangingPunct="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pPr eaLnBrk="1" hangingPunct="1">
              <a:spcBef>
                <a:spcPct val="50000"/>
              </a:spcBef>
              <a:defRPr/>
            </a:pPr>
            <a:endParaRPr lang="en-GB" altLang="el-GR" smtClean="0">
              <a:solidFill>
                <a:srgbClr val="1F497D"/>
              </a:solidFill>
            </a:endParaRPr>
          </a:p>
        </p:txBody>
      </p:sp>
      <p:sp>
        <p:nvSpPr>
          <p:cNvPr id="8" name="AutoShape 441"/>
          <p:cNvSpPr>
            <a:spLocks noChangeArrowheads="1"/>
          </p:cNvSpPr>
          <p:nvPr userDrawn="1">
            <p:custDataLst>
              <p:tags r:id="rId6"/>
            </p:custDataLst>
          </p:nvPr>
        </p:nvSpPr>
        <p:spPr bwMode="auto">
          <a:xfrm>
            <a:off x="0" y="322263"/>
            <a:ext cx="9144000" cy="509587"/>
          </a:xfrm>
          <a:prstGeom prst="roundRect">
            <a:avLst>
              <a:gd name="adj" fmla="val 0"/>
            </a:avLst>
          </a:prstGeom>
          <a:solidFill>
            <a:srgbClr val="003366"/>
          </a:solidFill>
          <a:ln>
            <a:noFill/>
          </a:ln>
          <a:extLst>
            <a:ext uri="{91240B29-F687-4F45-9708-019B960494DF}">
              <a14:hiddenLine xmlns:a14="http://schemas.microsoft.com/office/drawing/2010/main" w="3175">
                <a:solidFill>
                  <a:srgbClr val="000000"/>
                </a:solidFill>
                <a:round/>
                <a:headEnd/>
                <a:tailEnd/>
              </a14:hiddenLine>
            </a:ext>
          </a:extLst>
        </p:spPr>
        <p:txBody>
          <a:bodyPr anchor="ctr"/>
          <a:lstStyle>
            <a:lvl1pPr eaLnBrk="0" hangingPunct="0">
              <a:defRPr>
                <a:solidFill>
                  <a:schemeClr val="tx1"/>
                </a:solidFill>
                <a:latin typeface="Times New Roman" pitchFamily="18" charset="0"/>
              </a:defRPr>
            </a:lvl1pPr>
            <a:lvl2pPr marL="742950" indent="-285750" eaLnBrk="0" hangingPunct="0">
              <a:defRPr>
                <a:solidFill>
                  <a:schemeClr val="tx1"/>
                </a:solidFill>
                <a:latin typeface="Times New Roman" pitchFamily="18" charset="0"/>
              </a:defRPr>
            </a:lvl2pPr>
            <a:lvl3pPr marL="1143000" indent="-228600" eaLnBrk="0" hangingPunct="0">
              <a:defRPr>
                <a:solidFill>
                  <a:schemeClr val="tx1"/>
                </a:solidFill>
                <a:latin typeface="Times New Roman" pitchFamily="18" charset="0"/>
              </a:defRPr>
            </a:lvl3pPr>
            <a:lvl4pPr marL="1600200" indent="-228600" eaLnBrk="0" hangingPunct="0">
              <a:defRPr>
                <a:solidFill>
                  <a:schemeClr val="tx1"/>
                </a:solidFill>
                <a:latin typeface="Times New Roman" pitchFamily="18" charset="0"/>
              </a:defRPr>
            </a:lvl4pPr>
            <a:lvl5pPr marL="2057400" indent="-228600" eaLnBrk="0" hangingPunct="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pPr eaLnBrk="1" hangingPunct="1">
              <a:spcBef>
                <a:spcPct val="50000"/>
              </a:spcBef>
              <a:defRPr/>
            </a:pPr>
            <a:endParaRPr lang="en-GB" altLang="el-GR" smtClean="0">
              <a:solidFill>
                <a:srgbClr val="FFFFFF"/>
              </a:solidFill>
            </a:endParaRPr>
          </a:p>
        </p:txBody>
      </p:sp>
      <p:sp>
        <p:nvSpPr>
          <p:cNvPr id="9" name="Text Box 251"/>
          <p:cNvSpPr txBox="1">
            <a:spLocks noChangeArrowheads="1"/>
          </p:cNvSpPr>
          <p:nvPr userDrawn="1">
            <p:custDataLst>
              <p:tags r:id="rId7"/>
            </p:custDataLst>
          </p:nvPr>
        </p:nvSpPr>
        <p:spPr bwMode="auto">
          <a:xfrm>
            <a:off x="5191125" y="17463"/>
            <a:ext cx="3697288" cy="365125"/>
          </a:xfrm>
          <a:prstGeom prst="rect">
            <a:avLst/>
          </a:prstGeom>
          <a:noFill/>
          <a:ln>
            <a:noFill/>
          </a:ln>
          <a:extLst/>
        </p:spPr>
        <p:txBody>
          <a:bodyPr lIns="36000" tIns="36000" rIns="36000" bIns="3600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ct val="50000"/>
              </a:spcBef>
              <a:defRPr/>
            </a:pPr>
            <a:endParaRPr lang="en-GB" sz="1000" smtClean="0">
              <a:solidFill>
                <a:prstClr val="black"/>
              </a:solidFill>
              <a:latin typeface="Calibri" pitchFamily="34" charset="0"/>
            </a:endParaRPr>
          </a:p>
        </p:txBody>
      </p:sp>
      <p:sp>
        <p:nvSpPr>
          <p:cNvPr id="11" name="Freeform 13"/>
          <p:cNvSpPr>
            <a:spLocks/>
          </p:cNvSpPr>
          <p:nvPr userDrawn="1">
            <p:custDataLst>
              <p:tags r:id="rId8"/>
            </p:custDataLst>
          </p:nvPr>
        </p:nvSpPr>
        <p:spPr bwMode="auto">
          <a:xfrm>
            <a:off x="361950" y="328613"/>
            <a:ext cx="8782050" cy="493712"/>
          </a:xfrm>
          <a:custGeom>
            <a:avLst/>
            <a:gdLst>
              <a:gd name="T0" fmla="*/ 0 w 5961"/>
              <a:gd name="T1" fmla="*/ 2147483647 h 310"/>
              <a:gd name="T2" fmla="*/ 2147483647 w 5961"/>
              <a:gd name="T3" fmla="*/ 2147483647 h 310"/>
              <a:gd name="T4" fmla="*/ 2147483647 w 5961"/>
              <a:gd name="T5" fmla="*/ 2147483647 h 310"/>
              <a:gd name="T6" fmla="*/ 2147483647 w 5961"/>
              <a:gd name="T7" fmla="*/ 2147483647 h 310"/>
              <a:gd name="T8" fmla="*/ 2147483647 w 5961"/>
              <a:gd name="T9" fmla="*/ 2147483647 h 310"/>
              <a:gd name="T10" fmla="*/ 2147483647 w 5961"/>
              <a:gd name="T11" fmla="*/ 2147483647 h 310"/>
              <a:gd name="T12" fmla="*/ 2147483647 w 5961"/>
              <a:gd name="T13" fmla="*/ 2147483647 h 3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961" h="310">
                <a:moveTo>
                  <a:pt x="0" y="309"/>
                </a:moveTo>
                <a:cubicBezTo>
                  <a:pt x="243" y="174"/>
                  <a:pt x="486" y="39"/>
                  <a:pt x="822" y="39"/>
                </a:cubicBezTo>
                <a:cubicBezTo>
                  <a:pt x="1158" y="39"/>
                  <a:pt x="1596" y="308"/>
                  <a:pt x="2016" y="309"/>
                </a:cubicBezTo>
                <a:cubicBezTo>
                  <a:pt x="2436" y="310"/>
                  <a:pt x="2925" y="49"/>
                  <a:pt x="3342" y="45"/>
                </a:cubicBezTo>
                <a:cubicBezTo>
                  <a:pt x="3759" y="41"/>
                  <a:pt x="4115" y="286"/>
                  <a:pt x="4518" y="285"/>
                </a:cubicBezTo>
                <a:cubicBezTo>
                  <a:pt x="4921" y="284"/>
                  <a:pt x="5559" y="78"/>
                  <a:pt x="5760" y="39"/>
                </a:cubicBezTo>
                <a:cubicBezTo>
                  <a:pt x="5961" y="0"/>
                  <a:pt x="5730" y="49"/>
                  <a:pt x="5724" y="51"/>
                </a:cubicBezTo>
              </a:path>
            </a:pathLst>
          </a:custGeom>
          <a:noFill/>
          <a:ln>
            <a:noFill/>
          </a:ln>
          <a:effectLst>
            <a:prstShdw prst="shdw17" dist="17961" dir="13500000">
              <a:srgbClr val="808080"/>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l-GR"/>
          </a:p>
        </p:txBody>
      </p:sp>
      <p:sp>
        <p:nvSpPr>
          <p:cNvPr id="12" name="Text Box 70"/>
          <p:cNvSpPr txBox="1">
            <a:spLocks noChangeArrowheads="1"/>
          </p:cNvSpPr>
          <p:nvPr userDrawn="1">
            <p:custDataLst>
              <p:tags r:id="rId9"/>
            </p:custDataLst>
          </p:nvPr>
        </p:nvSpPr>
        <p:spPr bwMode="auto">
          <a:xfrm>
            <a:off x="8362950" y="6553200"/>
            <a:ext cx="666750" cy="179388"/>
          </a:xfrm>
          <a:prstGeom prst="rect">
            <a:avLst/>
          </a:prstGeom>
          <a:noFill/>
          <a:ln>
            <a:noFill/>
          </a:ln>
          <a:extLst/>
        </p:spPr>
        <p:txBody>
          <a:bodyPr rIns="54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80000"/>
              </a:lnSpc>
              <a:spcBef>
                <a:spcPct val="50000"/>
              </a:spcBef>
              <a:defRPr/>
            </a:pPr>
            <a:fld id="{07CF0044-E74D-4F80-9F83-F2B7794D111C}" type="slidenum">
              <a:rPr lang="en-US" sz="700" smtClean="0">
                <a:solidFill>
                  <a:prstClr val="black"/>
                </a:solidFill>
                <a:latin typeface="Calibri" pitchFamily="34" charset="0"/>
              </a:rPr>
              <a:pPr algn="r" eaLnBrk="1" hangingPunct="1">
                <a:lnSpc>
                  <a:spcPct val="80000"/>
                </a:lnSpc>
                <a:spcBef>
                  <a:spcPct val="50000"/>
                </a:spcBef>
                <a:defRPr/>
              </a:pPr>
              <a:t>‹#›</a:t>
            </a:fld>
            <a:endParaRPr lang="en-GB" sz="700" smtClean="0">
              <a:solidFill>
                <a:prstClr val="black"/>
              </a:solidFill>
              <a:latin typeface="Calibri" pitchFamily="34" charset="0"/>
            </a:endParaRPr>
          </a:p>
        </p:txBody>
      </p:sp>
      <p:sp>
        <p:nvSpPr>
          <p:cNvPr id="31" name="Content Placeholder 30"/>
          <p:cNvSpPr>
            <a:spLocks noGrp="1"/>
          </p:cNvSpPr>
          <p:nvPr>
            <p:ph sz="quarter" idx="10"/>
          </p:nvPr>
        </p:nvSpPr>
        <p:spPr>
          <a:xfrm>
            <a:off x="457200" y="433768"/>
            <a:ext cx="8686800" cy="304800"/>
          </a:xfrm>
        </p:spPr>
        <p:txBody>
          <a:bodyPr anchor="ctr">
            <a:noAutofit/>
          </a:bodyPr>
          <a:lstStyle>
            <a:lvl1pPr marL="0" indent="3175">
              <a:lnSpc>
                <a:spcPts val="1800"/>
              </a:lnSpc>
              <a:buNone/>
              <a:defRPr sz="2000" b="1" baseline="0">
                <a:solidFill>
                  <a:schemeClr val="bg1"/>
                </a:solidFill>
              </a:defRPr>
            </a:lvl1pPr>
          </a:lstStyle>
          <a:p>
            <a:pPr lvl="0"/>
            <a:endParaRPr lang="en-US" dirty="0"/>
          </a:p>
        </p:txBody>
      </p:sp>
      <p:sp>
        <p:nvSpPr>
          <p:cNvPr id="10" name="Content Placeholder 30"/>
          <p:cNvSpPr>
            <a:spLocks noGrp="1"/>
          </p:cNvSpPr>
          <p:nvPr>
            <p:ph sz="quarter" idx="11"/>
          </p:nvPr>
        </p:nvSpPr>
        <p:spPr>
          <a:xfrm>
            <a:off x="472411" y="895093"/>
            <a:ext cx="8416617" cy="304800"/>
          </a:xfrm>
        </p:spPr>
        <p:txBody>
          <a:bodyPr anchor="ctr">
            <a:noAutofit/>
          </a:bodyPr>
          <a:lstStyle>
            <a:lvl1pPr marL="0" indent="3175">
              <a:lnSpc>
                <a:spcPts val="1800"/>
              </a:lnSpc>
              <a:buNone/>
              <a:defRPr sz="1800" b="1" i="1" baseline="0">
                <a:solidFill>
                  <a:schemeClr val="tx1"/>
                </a:solidFill>
              </a:defRPr>
            </a:lvl1pPr>
          </a:lstStyle>
          <a:p>
            <a:pPr lvl="0"/>
            <a:endParaRPr lang="en-US" dirty="0"/>
          </a:p>
        </p:txBody>
      </p:sp>
    </p:spTree>
    <p:extLst>
      <p:ext uri="{BB962C8B-B14F-4D97-AF65-F5344CB8AC3E}">
        <p14:creationId xmlns:p14="http://schemas.microsoft.com/office/powerpoint/2010/main" val="8008547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22_Section Header">
    <p:spTree>
      <p:nvGrpSpPr>
        <p:cNvPr id="1" name=""/>
        <p:cNvGrpSpPr/>
        <p:nvPr/>
      </p:nvGrpSpPr>
      <p:grpSpPr>
        <a:xfrm>
          <a:off x="0" y="0"/>
          <a:ext cx="0" cy="0"/>
          <a:chOff x="0" y="0"/>
          <a:chExt cx="0" cy="0"/>
        </a:xfrm>
      </p:grpSpPr>
      <p:graphicFrame>
        <p:nvGraphicFramePr>
          <p:cNvPr id="4" name="Object 168"/>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Object 169"/>
          <p:cNvGraphicFramePr>
            <a:graphicFrameLocks noChangeAspect="1"/>
          </p:cNvGraphicFramePr>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73"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AutoShape 441"/>
          <p:cNvSpPr>
            <a:spLocks noChangeArrowheads="1"/>
          </p:cNvSpPr>
          <p:nvPr>
            <p:custDataLst>
              <p:tags r:id="rId2"/>
            </p:custDataLst>
          </p:nvPr>
        </p:nvSpPr>
        <p:spPr bwMode="auto">
          <a:xfrm>
            <a:off x="300407" y="55563"/>
            <a:ext cx="8612065" cy="560387"/>
          </a:xfrm>
          <a:prstGeom prst="roundRect">
            <a:avLst>
              <a:gd name="adj" fmla="val 0"/>
            </a:avLst>
          </a:prstGeom>
          <a:solidFill>
            <a:srgbClr val="D4D8DE"/>
          </a:solidFill>
          <a:ln w="3175">
            <a:noFill/>
            <a:round/>
            <a:headEnd/>
            <a:tailEnd/>
          </a:ln>
        </p:spPr>
        <p:txBody>
          <a:bodyPr anchor="ctr"/>
          <a:lstStyle/>
          <a:p>
            <a:pPr>
              <a:spcBef>
                <a:spcPct val="50000"/>
              </a:spcBef>
              <a:defRPr/>
            </a:pPr>
            <a:endParaRPr lang="en-GB">
              <a:solidFill>
                <a:srgbClr val="FFFFFF"/>
              </a:solidFill>
              <a:cs typeface="Arial" charset="0"/>
            </a:endParaRPr>
          </a:p>
        </p:txBody>
      </p:sp>
      <p:sp>
        <p:nvSpPr>
          <p:cNvPr id="7" name="AutoShape 441"/>
          <p:cNvSpPr>
            <a:spLocks noChangeArrowheads="1"/>
          </p:cNvSpPr>
          <p:nvPr>
            <p:custDataLst>
              <p:tags r:id="rId3"/>
            </p:custDataLst>
          </p:nvPr>
        </p:nvSpPr>
        <p:spPr bwMode="auto">
          <a:xfrm>
            <a:off x="288681" y="720725"/>
            <a:ext cx="8622323" cy="552450"/>
          </a:xfrm>
          <a:prstGeom prst="roundRect">
            <a:avLst>
              <a:gd name="adj" fmla="val 0"/>
            </a:avLst>
          </a:prstGeom>
          <a:solidFill>
            <a:srgbClr val="D4D8DE"/>
          </a:solidFill>
          <a:ln w="3175">
            <a:noFill/>
            <a:round/>
            <a:headEnd/>
            <a:tailEnd/>
          </a:ln>
        </p:spPr>
        <p:txBody>
          <a:bodyPr anchor="ctr"/>
          <a:lstStyle/>
          <a:p>
            <a:pPr>
              <a:spcBef>
                <a:spcPct val="50000"/>
              </a:spcBef>
              <a:defRPr/>
            </a:pPr>
            <a:endParaRPr lang="en-GB">
              <a:solidFill>
                <a:srgbClr val="1F497D"/>
              </a:solidFill>
              <a:cs typeface="Arial" charset="0"/>
            </a:endParaRPr>
          </a:p>
        </p:txBody>
      </p:sp>
      <p:sp>
        <p:nvSpPr>
          <p:cNvPr id="8" name="AutoShape 441"/>
          <p:cNvSpPr>
            <a:spLocks noChangeArrowheads="1"/>
          </p:cNvSpPr>
          <p:nvPr>
            <p:custDataLst>
              <p:tags r:id="rId4"/>
            </p:custDataLst>
          </p:nvPr>
        </p:nvSpPr>
        <p:spPr bwMode="auto">
          <a:xfrm>
            <a:off x="0" y="322263"/>
            <a:ext cx="9144000" cy="509587"/>
          </a:xfrm>
          <a:prstGeom prst="roundRect">
            <a:avLst>
              <a:gd name="adj" fmla="val 0"/>
            </a:avLst>
          </a:prstGeom>
          <a:solidFill>
            <a:srgbClr val="003366"/>
          </a:solidFill>
          <a:ln w="3175">
            <a:noFill/>
            <a:round/>
            <a:headEnd/>
            <a:tailEnd/>
          </a:ln>
        </p:spPr>
        <p:txBody>
          <a:bodyPr anchor="ctr"/>
          <a:lstStyle/>
          <a:p>
            <a:pPr>
              <a:spcBef>
                <a:spcPct val="50000"/>
              </a:spcBef>
              <a:defRPr/>
            </a:pPr>
            <a:endParaRPr lang="en-GB">
              <a:solidFill>
                <a:srgbClr val="FFFFFF"/>
              </a:solidFill>
              <a:cs typeface="Arial" charset="0"/>
            </a:endParaRPr>
          </a:p>
        </p:txBody>
      </p:sp>
      <p:sp>
        <p:nvSpPr>
          <p:cNvPr id="9" name="Text Box 251"/>
          <p:cNvSpPr txBox="1">
            <a:spLocks noChangeArrowheads="1"/>
          </p:cNvSpPr>
          <p:nvPr>
            <p:custDataLst>
              <p:tags r:id="rId5"/>
            </p:custDataLst>
          </p:nvPr>
        </p:nvSpPr>
        <p:spPr bwMode="auto">
          <a:xfrm>
            <a:off x="5190392" y="17463"/>
            <a:ext cx="3698631" cy="365125"/>
          </a:xfrm>
          <a:prstGeom prst="rect">
            <a:avLst/>
          </a:prstGeom>
          <a:noFill/>
          <a:ln>
            <a:noFill/>
          </a:ln>
          <a:extLst/>
        </p:spPr>
        <p:txBody>
          <a:bodyPr lIns="36000" tIns="36000" rIns="36000" bIns="3600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ct val="50000"/>
              </a:spcBef>
              <a:defRPr/>
            </a:pPr>
            <a:endParaRPr lang="en-GB" sz="1000" smtClean="0">
              <a:solidFill>
                <a:prstClr val="black"/>
              </a:solidFill>
              <a:latin typeface="Calibri" pitchFamily="34" charset="0"/>
              <a:cs typeface="Arial" charset="0"/>
            </a:endParaRPr>
          </a:p>
        </p:txBody>
      </p:sp>
      <p:sp>
        <p:nvSpPr>
          <p:cNvPr id="11" name="Freeform 13"/>
          <p:cNvSpPr>
            <a:spLocks/>
          </p:cNvSpPr>
          <p:nvPr>
            <p:custDataLst>
              <p:tags r:id="rId6"/>
            </p:custDataLst>
          </p:nvPr>
        </p:nvSpPr>
        <p:spPr bwMode="auto">
          <a:xfrm>
            <a:off x="361951" y="328613"/>
            <a:ext cx="8782050" cy="493712"/>
          </a:xfrm>
          <a:custGeom>
            <a:avLst/>
            <a:gdLst>
              <a:gd name="T0" fmla="*/ 0 w 5961"/>
              <a:gd name="T1" fmla="*/ 783758244 h 310"/>
              <a:gd name="T2" fmla="*/ 2093869111 w 5961"/>
              <a:gd name="T3" fmla="*/ 98920773 h 310"/>
              <a:gd name="T4" fmla="*/ 2147483647 w 5961"/>
              <a:gd name="T5" fmla="*/ 783758244 h 310"/>
              <a:gd name="T6" fmla="*/ 2147483647 w 5961"/>
              <a:gd name="T7" fmla="*/ 114139844 h 310"/>
              <a:gd name="T8" fmla="*/ 2147483647 w 5961"/>
              <a:gd name="T9" fmla="*/ 722885147 h 310"/>
              <a:gd name="T10" fmla="*/ 2147483647 w 5961"/>
              <a:gd name="T11" fmla="*/ 98920773 h 310"/>
              <a:gd name="T12" fmla="*/ 2147483647 w 5961"/>
              <a:gd name="T13" fmla="*/ 129358914 h 3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961" h="310">
                <a:moveTo>
                  <a:pt x="0" y="309"/>
                </a:moveTo>
                <a:cubicBezTo>
                  <a:pt x="243" y="174"/>
                  <a:pt x="486" y="39"/>
                  <a:pt x="822" y="39"/>
                </a:cubicBezTo>
                <a:cubicBezTo>
                  <a:pt x="1158" y="39"/>
                  <a:pt x="1596" y="308"/>
                  <a:pt x="2016" y="309"/>
                </a:cubicBezTo>
                <a:cubicBezTo>
                  <a:pt x="2436" y="310"/>
                  <a:pt x="2925" y="49"/>
                  <a:pt x="3342" y="45"/>
                </a:cubicBezTo>
                <a:cubicBezTo>
                  <a:pt x="3759" y="41"/>
                  <a:pt x="4115" y="286"/>
                  <a:pt x="4518" y="285"/>
                </a:cubicBezTo>
                <a:cubicBezTo>
                  <a:pt x="4921" y="284"/>
                  <a:pt x="5559" y="78"/>
                  <a:pt x="5760" y="39"/>
                </a:cubicBezTo>
                <a:cubicBezTo>
                  <a:pt x="5961" y="0"/>
                  <a:pt x="5730" y="49"/>
                  <a:pt x="5724" y="51"/>
                </a:cubicBezTo>
              </a:path>
            </a:pathLst>
          </a:custGeom>
          <a:noFill/>
          <a:ln w="9525">
            <a:noFill/>
            <a:round/>
            <a:headEnd/>
            <a:tailEnd/>
          </a:ln>
          <a:effectLst>
            <a:prstShdw prst="shdw17" dist="17961" dir="13500000">
              <a:srgbClr val="808080"/>
            </a:prstShdw>
          </a:effectLst>
        </p:spPr>
        <p:txBody>
          <a:bodyPr/>
          <a:lstStyle/>
          <a:p>
            <a:pPr>
              <a:defRPr/>
            </a:pPr>
            <a:endParaRPr lang="el-GR">
              <a:solidFill>
                <a:prstClr val="black"/>
              </a:solidFill>
            </a:endParaRPr>
          </a:p>
        </p:txBody>
      </p:sp>
      <p:sp>
        <p:nvSpPr>
          <p:cNvPr id="12" name="Text Box 70"/>
          <p:cNvSpPr txBox="1">
            <a:spLocks noChangeArrowheads="1"/>
          </p:cNvSpPr>
          <p:nvPr>
            <p:custDataLst>
              <p:tags r:id="rId7"/>
            </p:custDataLst>
          </p:nvPr>
        </p:nvSpPr>
        <p:spPr bwMode="auto">
          <a:xfrm>
            <a:off x="8362950" y="6553200"/>
            <a:ext cx="666750" cy="179388"/>
          </a:xfrm>
          <a:prstGeom prst="rect">
            <a:avLst/>
          </a:prstGeom>
          <a:noFill/>
          <a:ln>
            <a:noFill/>
          </a:ln>
          <a:extLst/>
        </p:spPr>
        <p:txBody>
          <a:bodyPr rIns="54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80000"/>
              </a:lnSpc>
              <a:spcBef>
                <a:spcPct val="50000"/>
              </a:spcBef>
              <a:defRPr/>
            </a:pPr>
            <a:fld id="{2A94EE75-B378-4794-B94A-AD7733866C2B}" type="slidenum">
              <a:rPr lang="en-US" sz="700" smtClean="0">
                <a:solidFill>
                  <a:prstClr val="black"/>
                </a:solidFill>
                <a:latin typeface="Calibri" pitchFamily="34" charset="0"/>
                <a:cs typeface="Arial" charset="0"/>
              </a:rPr>
              <a:pPr algn="r" eaLnBrk="1" hangingPunct="1">
                <a:lnSpc>
                  <a:spcPct val="80000"/>
                </a:lnSpc>
                <a:spcBef>
                  <a:spcPct val="50000"/>
                </a:spcBef>
                <a:defRPr/>
              </a:pPr>
              <a:t>‹#›</a:t>
            </a:fld>
            <a:endParaRPr lang="en-GB" sz="700" smtClean="0">
              <a:solidFill>
                <a:prstClr val="black"/>
              </a:solidFill>
              <a:latin typeface="Calibri" pitchFamily="34" charset="0"/>
              <a:cs typeface="Arial" charset="0"/>
            </a:endParaRPr>
          </a:p>
        </p:txBody>
      </p:sp>
      <p:sp>
        <p:nvSpPr>
          <p:cNvPr id="31" name="Content Placeholder 30"/>
          <p:cNvSpPr>
            <a:spLocks noGrp="1"/>
          </p:cNvSpPr>
          <p:nvPr>
            <p:ph sz="quarter" idx="10"/>
          </p:nvPr>
        </p:nvSpPr>
        <p:spPr>
          <a:xfrm>
            <a:off x="457200" y="433768"/>
            <a:ext cx="8686800" cy="304800"/>
          </a:xfrm>
        </p:spPr>
        <p:txBody>
          <a:bodyPr anchor="ctr">
            <a:noAutofit/>
          </a:bodyPr>
          <a:lstStyle>
            <a:lvl1pPr marL="0" indent="3175">
              <a:lnSpc>
                <a:spcPts val="1800"/>
              </a:lnSpc>
              <a:buNone/>
              <a:defRPr sz="2000" b="1" baseline="0">
                <a:solidFill>
                  <a:schemeClr val="bg1"/>
                </a:solidFill>
              </a:defRPr>
            </a:lvl1pPr>
          </a:lstStyle>
          <a:p>
            <a:pPr lvl="0"/>
            <a:endParaRPr lang="en-US" dirty="0"/>
          </a:p>
        </p:txBody>
      </p:sp>
      <p:sp>
        <p:nvSpPr>
          <p:cNvPr id="10" name="Content Placeholder 30"/>
          <p:cNvSpPr>
            <a:spLocks noGrp="1"/>
          </p:cNvSpPr>
          <p:nvPr>
            <p:ph sz="quarter" idx="11"/>
          </p:nvPr>
        </p:nvSpPr>
        <p:spPr>
          <a:xfrm>
            <a:off x="472411" y="895093"/>
            <a:ext cx="8416617" cy="304800"/>
          </a:xfrm>
        </p:spPr>
        <p:txBody>
          <a:bodyPr anchor="ctr">
            <a:noAutofit/>
          </a:bodyPr>
          <a:lstStyle>
            <a:lvl1pPr marL="0" indent="3175">
              <a:lnSpc>
                <a:spcPts val="1800"/>
              </a:lnSpc>
              <a:buNone/>
              <a:defRPr sz="1800" b="1" i="1" baseline="0">
                <a:solidFill>
                  <a:schemeClr val="tx1"/>
                </a:solidFill>
              </a:defRPr>
            </a:lvl1pPr>
          </a:lstStyle>
          <a:p>
            <a:pPr lvl="0"/>
            <a:endParaRPr lang="en-US" dirty="0"/>
          </a:p>
        </p:txBody>
      </p:sp>
    </p:spTree>
    <p:extLst>
      <p:ext uri="{BB962C8B-B14F-4D97-AF65-F5344CB8AC3E}">
        <p14:creationId xmlns:p14="http://schemas.microsoft.com/office/powerpoint/2010/main" val="12262332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Date Placeholder 3"/>
          <p:cNvSpPr>
            <a:spLocks noGrp="1"/>
          </p:cNvSpPr>
          <p:nvPr>
            <p:ph type="dt" sz="half" idx="10"/>
          </p:nvPr>
        </p:nvSpPr>
        <p:spPr/>
        <p:txBody>
          <a:bodyPr/>
          <a:lstStyle/>
          <a:p>
            <a:fld id="{AFC5A5DC-FD55-4924-90E2-DEAF4F43C464}" type="datetimeFigureOut">
              <a:rPr lang="el-GR" smtClean="0"/>
              <a:t>28/Μαρ/2017</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25D35487-6DA4-49A6-A7C0-692811044ED5}" type="slidenum">
              <a:rPr lang="el-GR" smtClean="0"/>
              <a:t>‹#›</a:t>
            </a:fld>
            <a:endParaRPr lang="el-GR"/>
          </a:p>
        </p:txBody>
      </p:sp>
    </p:spTree>
    <p:extLst>
      <p:ext uri="{BB962C8B-B14F-4D97-AF65-F5344CB8AC3E}">
        <p14:creationId xmlns:p14="http://schemas.microsoft.com/office/powerpoint/2010/main" val="25031062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l-G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C5A5DC-FD55-4924-90E2-DEAF4F43C464}" type="datetimeFigureOut">
              <a:rPr lang="el-GR" smtClean="0"/>
              <a:t>28/Μαρ/2017</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25D35487-6DA4-49A6-A7C0-692811044ED5}" type="slidenum">
              <a:rPr lang="el-GR" smtClean="0"/>
              <a:t>‹#›</a:t>
            </a:fld>
            <a:endParaRPr lang="el-GR"/>
          </a:p>
        </p:txBody>
      </p:sp>
    </p:spTree>
    <p:extLst>
      <p:ext uri="{BB962C8B-B14F-4D97-AF65-F5344CB8AC3E}">
        <p14:creationId xmlns:p14="http://schemas.microsoft.com/office/powerpoint/2010/main" val="10100007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Date Placeholder 4"/>
          <p:cNvSpPr>
            <a:spLocks noGrp="1"/>
          </p:cNvSpPr>
          <p:nvPr>
            <p:ph type="dt" sz="half" idx="10"/>
          </p:nvPr>
        </p:nvSpPr>
        <p:spPr/>
        <p:txBody>
          <a:bodyPr/>
          <a:lstStyle/>
          <a:p>
            <a:fld id="{AFC5A5DC-FD55-4924-90E2-DEAF4F43C464}" type="datetimeFigureOut">
              <a:rPr lang="el-GR" smtClean="0"/>
              <a:t>28/Μαρ/2017</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25D35487-6DA4-49A6-A7C0-692811044ED5}" type="slidenum">
              <a:rPr lang="el-GR" smtClean="0"/>
              <a:t>‹#›</a:t>
            </a:fld>
            <a:endParaRPr lang="el-GR"/>
          </a:p>
        </p:txBody>
      </p:sp>
    </p:spTree>
    <p:extLst>
      <p:ext uri="{BB962C8B-B14F-4D97-AF65-F5344CB8AC3E}">
        <p14:creationId xmlns:p14="http://schemas.microsoft.com/office/powerpoint/2010/main" val="585629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l-G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7" name="Date Placeholder 6"/>
          <p:cNvSpPr>
            <a:spLocks noGrp="1"/>
          </p:cNvSpPr>
          <p:nvPr>
            <p:ph type="dt" sz="half" idx="10"/>
          </p:nvPr>
        </p:nvSpPr>
        <p:spPr/>
        <p:txBody>
          <a:bodyPr/>
          <a:lstStyle/>
          <a:p>
            <a:fld id="{AFC5A5DC-FD55-4924-90E2-DEAF4F43C464}" type="datetimeFigureOut">
              <a:rPr lang="el-GR" smtClean="0"/>
              <a:t>28/Μαρ/2017</a:t>
            </a:fld>
            <a:endParaRPr lang="el-GR"/>
          </a:p>
        </p:txBody>
      </p:sp>
      <p:sp>
        <p:nvSpPr>
          <p:cNvPr id="8" name="Footer Placeholder 7"/>
          <p:cNvSpPr>
            <a:spLocks noGrp="1"/>
          </p:cNvSpPr>
          <p:nvPr>
            <p:ph type="ftr" sz="quarter" idx="11"/>
          </p:nvPr>
        </p:nvSpPr>
        <p:spPr/>
        <p:txBody>
          <a:bodyPr/>
          <a:lstStyle/>
          <a:p>
            <a:endParaRPr lang="el-GR"/>
          </a:p>
        </p:txBody>
      </p:sp>
      <p:sp>
        <p:nvSpPr>
          <p:cNvPr id="9" name="Slide Number Placeholder 8"/>
          <p:cNvSpPr>
            <a:spLocks noGrp="1"/>
          </p:cNvSpPr>
          <p:nvPr>
            <p:ph type="sldNum" sz="quarter" idx="12"/>
          </p:nvPr>
        </p:nvSpPr>
        <p:spPr/>
        <p:txBody>
          <a:bodyPr/>
          <a:lstStyle/>
          <a:p>
            <a:fld id="{25D35487-6DA4-49A6-A7C0-692811044ED5}" type="slidenum">
              <a:rPr lang="el-GR" smtClean="0"/>
              <a:t>‹#›</a:t>
            </a:fld>
            <a:endParaRPr lang="el-GR"/>
          </a:p>
        </p:txBody>
      </p:sp>
    </p:spTree>
    <p:extLst>
      <p:ext uri="{BB962C8B-B14F-4D97-AF65-F5344CB8AC3E}">
        <p14:creationId xmlns:p14="http://schemas.microsoft.com/office/powerpoint/2010/main" val="17723934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Date Placeholder 2"/>
          <p:cNvSpPr>
            <a:spLocks noGrp="1"/>
          </p:cNvSpPr>
          <p:nvPr>
            <p:ph type="dt" sz="half" idx="10"/>
          </p:nvPr>
        </p:nvSpPr>
        <p:spPr/>
        <p:txBody>
          <a:bodyPr/>
          <a:lstStyle/>
          <a:p>
            <a:fld id="{AFC5A5DC-FD55-4924-90E2-DEAF4F43C464}" type="datetimeFigureOut">
              <a:rPr lang="el-GR" smtClean="0"/>
              <a:t>28/Μαρ/2017</a:t>
            </a:fld>
            <a:endParaRPr lang="el-GR"/>
          </a:p>
        </p:txBody>
      </p:sp>
      <p:sp>
        <p:nvSpPr>
          <p:cNvPr id="4" name="Footer Placeholder 3"/>
          <p:cNvSpPr>
            <a:spLocks noGrp="1"/>
          </p:cNvSpPr>
          <p:nvPr>
            <p:ph type="ftr" sz="quarter" idx="11"/>
          </p:nvPr>
        </p:nvSpPr>
        <p:spPr/>
        <p:txBody>
          <a:bodyPr/>
          <a:lstStyle/>
          <a:p>
            <a:endParaRPr lang="el-GR"/>
          </a:p>
        </p:txBody>
      </p:sp>
      <p:sp>
        <p:nvSpPr>
          <p:cNvPr id="5" name="Slide Number Placeholder 4"/>
          <p:cNvSpPr>
            <a:spLocks noGrp="1"/>
          </p:cNvSpPr>
          <p:nvPr>
            <p:ph type="sldNum" sz="quarter" idx="12"/>
          </p:nvPr>
        </p:nvSpPr>
        <p:spPr/>
        <p:txBody>
          <a:bodyPr/>
          <a:lstStyle/>
          <a:p>
            <a:fld id="{25D35487-6DA4-49A6-A7C0-692811044ED5}" type="slidenum">
              <a:rPr lang="el-GR" smtClean="0"/>
              <a:t>‹#›</a:t>
            </a:fld>
            <a:endParaRPr lang="el-GR"/>
          </a:p>
        </p:txBody>
      </p:sp>
    </p:spTree>
    <p:extLst>
      <p:ext uri="{BB962C8B-B14F-4D97-AF65-F5344CB8AC3E}">
        <p14:creationId xmlns:p14="http://schemas.microsoft.com/office/powerpoint/2010/main" val="19441983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FC5A5DC-FD55-4924-90E2-DEAF4F43C464}" type="datetimeFigureOut">
              <a:rPr lang="el-GR" smtClean="0"/>
              <a:t>28/Μαρ/2017</a:t>
            </a:fld>
            <a:endParaRPr lang="el-GR"/>
          </a:p>
        </p:txBody>
      </p:sp>
      <p:sp>
        <p:nvSpPr>
          <p:cNvPr id="3" name="Footer Placeholder 2"/>
          <p:cNvSpPr>
            <a:spLocks noGrp="1"/>
          </p:cNvSpPr>
          <p:nvPr>
            <p:ph type="ftr" sz="quarter" idx="11"/>
          </p:nvPr>
        </p:nvSpPr>
        <p:spPr/>
        <p:txBody>
          <a:bodyPr/>
          <a:lstStyle/>
          <a:p>
            <a:endParaRPr lang="el-GR"/>
          </a:p>
        </p:txBody>
      </p:sp>
      <p:sp>
        <p:nvSpPr>
          <p:cNvPr id="4" name="Slide Number Placeholder 3"/>
          <p:cNvSpPr>
            <a:spLocks noGrp="1"/>
          </p:cNvSpPr>
          <p:nvPr>
            <p:ph type="sldNum" sz="quarter" idx="12"/>
          </p:nvPr>
        </p:nvSpPr>
        <p:spPr/>
        <p:txBody>
          <a:bodyPr/>
          <a:lstStyle/>
          <a:p>
            <a:fld id="{25D35487-6DA4-49A6-A7C0-692811044ED5}" type="slidenum">
              <a:rPr lang="el-GR" smtClean="0"/>
              <a:t>‹#›</a:t>
            </a:fld>
            <a:endParaRPr lang="el-GR"/>
          </a:p>
        </p:txBody>
      </p:sp>
    </p:spTree>
    <p:extLst>
      <p:ext uri="{BB962C8B-B14F-4D97-AF65-F5344CB8AC3E}">
        <p14:creationId xmlns:p14="http://schemas.microsoft.com/office/powerpoint/2010/main" val="1359691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l-G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FC5A5DC-FD55-4924-90E2-DEAF4F43C464}" type="datetimeFigureOut">
              <a:rPr lang="el-GR" smtClean="0"/>
              <a:t>28/Μαρ/2017</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25D35487-6DA4-49A6-A7C0-692811044ED5}" type="slidenum">
              <a:rPr lang="el-GR" smtClean="0"/>
              <a:t>‹#›</a:t>
            </a:fld>
            <a:endParaRPr lang="el-GR"/>
          </a:p>
        </p:txBody>
      </p:sp>
    </p:spTree>
    <p:extLst>
      <p:ext uri="{BB962C8B-B14F-4D97-AF65-F5344CB8AC3E}">
        <p14:creationId xmlns:p14="http://schemas.microsoft.com/office/powerpoint/2010/main" val="3795356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l-G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FC5A5DC-FD55-4924-90E2-DEAF4F43C464}" type="datetimeFigureOut">
              <a:rPr lang="el-GR" smtClean="0"/>
              <a:t>28/Μαρ/2017</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25D35487-6DA4-49A6-A7C0-692811044ED5}" type="slidenum">
              <a:rPr lang="el-GR" smtClean="0"/>
              <a:t>‹#›</a:t>
            </a:fld>
            <a:endParaRPr lang="el-GR"/>
          </a:p>
        </p:txBody>
      </p:sp>
    </p:spTree>
    <p:extLst>
      <p:ext uri="{BB962C8B-B14F-4D97-AF65-F5344CB8AC3E}">
        <p14:creationId xmlns:p14="http://schemas.microsoft.com/office/powerpoint/2010/main" val="1540856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l-G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C5A5DC-FD55-4924-90E2-DEAF4F43C464}" type="datetimeFigureOut">
              <a:rPr lang="el-GR" smtClean="0"/>
              <a:t>28/Μαρ/2017</a:t>
            </a:fld>
            <a:endParaRPr lang="el-G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D35487-6DA4-49A6-A7C0-692811044ED5}" type="slidenum">
              <a:rPr lang="el-GR" smtClean="0"/>
              <a:t>‹#›</a:t>
            </a:fld>
            <a:endParaRPr lang="el-GR"/>
          </a:p>
        </p:txBody>
      </p:sp>
    </p:spTree>
    <p:extLst>
      <p:ext uri="{BB962C8B-B14F-4D97-AF65-F5344CB8AC3E}">
        <p14:creationId xmlns:p14="http://schemas.microsoft.com/office/powerpoint/2010/main" val="16775845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emf"/><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vmlDrawing" Target="../drawings/vmlDrawing5.v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260648"/>
            <a:ext cx="8229600" cy="1143000"/>
          </a:xfrm>
        </p:spPr>
        <p:txBody>
          <a:bodyPr>
            <a:normAutofit fontScale="90000"/>
          </a:bodyPr>
          <a:lstStyle/>
          <a:p>
            <a:r>
              <a:rPr lang="el-GR" sz="2000" dirty="0" smtClean="0"/>
              <a:t>Θεωρία  κύκλου ζωής ,</a:t>
            </a:r>
            <a:r>
              <a:rPr lang="el-GR" sz="2000" dirty="0" err="1" smtClean="0"/>
              <a:t>συμπεριφορικά</a:t>
            </a:r>
            <a:r>
              <a:rPr lang="el-GR" sz="2000" dirty="0" smtClean="0"/>
              <a:t> </a:t>
            </a:r>
            <a:r>
              <a:rPr lang="el-GR" sz="2000" dirty="0" err="1" smtClean="0"/>
              <a:t>σφάλαματα</a:t>
            </a:r>
            <a:r>
              <a:rPr lang="el-GR" sz="2000" dirty="0" smtClean="0"/>
              <a:t> και χρηματοοικονομικός προγραμματισμός </a:t>
            </a:r>
            <a:br>
              <a:rPr lang="el-GR" sz="2000" dirty="0" smtClean="0"/>
            </a:br>
            <a:r>
              <a:rPr lang="el-GR" sz="2000" dirty="0" smtClean="0"/>
              <a:t> </a:t>
            </a:r>
            <a:r>
              <a:rPr lang="el-GR" sz="2000" dirty="0"/>
              <a:t/>
            </a:r>
            <a:br>
              <a:rPr lang="el-GR" sz="2000" dirty="0"/>
            </a:br>
            <a:r>
              <a:rPr lang="el-GR" sz="2000" dirty="0" smtClean="0"/>
              <a:t>Νίκος Δ. </a:t>
            </a:r>
            <a:r>
              <a:rPr lang="el-GR" sz="2000" dirty="0" err="1" smtClean="0"/>
              <a:t>Φίλιππας</a:t>
            </a:r>
            <a:endParaRPr lang="el-GR" sz="2000" dirty="0"/>
          </a:p>
        </p:txBody>
      </p:sp>
      <p:sp>
        <p:nvSpPr>
          <p:cNvPr id="3" name="Content Placeholder 2"/>
          <p:cNvSpPr>
            <a:spLocks noGrp="1"/>
          </p:cNvSpPr>
          <p:nvPr>
            <p:ph idx="1"/>
          </p:nvPr>
        </p:nvSpPr>
        <p:spPr/>
        <p:txBody>
          <a:bodyPr>
            <a:normAutofit/>
          </a:bodyPr>
          <a:lstStyle/>
          <a:p>
            <a:pPr marL="0" indent="0">
              <a:buNone/>
            </a:pPr>
            <a:r>
              <a:rPr lang="el-GR" sz="2000" dirty="0" smtClean="0"/>
              <a:t>              Καθηγητής Χρηματοοικονομικής Πανεπιστημίου του Πειραιά</a:t>
            </a:r>
          </a:p>
          <a:p>
            <a:pPr marL="0" indent="0">
              <a:buNone/>
            </a:pPr>
            <a:r>
              <a:rPr lang="el-GR" sz="2000" dirty="0" smtClean="0"/>
              <a:t>                    Πρόεδρος της Επενδυτικής Επιτροπής του Τ</a:t>
            </a:r>
            <a:r>
              <a:rPr lang="en-US" sz="2000" dirty="0" smtClean="0"/>
              <a:t>E</a:t>
            </a:r>
            <a:r>
              <a:rPr lang="el-GR" sz="2000" dirty="0" smtClean="0"/>
              <a:t>ΑΥΦΕ</a:t>
            </a:r>
          </a:p>
          <a:p>
            <a:endParaRPr lang="el-GR" sz="2000" dirty="0"/>
          </a:p>
          <a:p>
            <a:endParaRPr lang="el-GR" sz="2000" dirty="0" smtClean="0"/>
          </a:p>
          <a:p>
            <a:endParaRPr lang="el-GR" sz="2000" dirty="0"/>
          </a:p>
          <a:p>
            <a:pPr marL="0" indent="0">
              <a:buNone/>
            </a:pPr>
            <a:r>
              <a:rPr lang="el-GR" sz="2000" dirty="0" smtClean="0"/>
              <a:t>                                                    29-3-2017</a:t>
            </a:r>
            <a:endParaRPr lang="el-GR" sz="2000" dirty="0"/>
          </a:p>
        </p:txBody>
      </p:sp>
    </p:spTree>
    <p:extLst>
      <p:ext uri="{BB962C8B-B14F-4D97-AF65-F5344CB8AC3E}">
        <p14:creationId xmlns:p14="http://schemas.microsoft.com/office/powerpoint/2010/main" val="3926268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Content Placeholder 2"/>
          <p:cNvSpPr>
            <a:spLocks noGrp="1"/>
          </p:cNvSpPr>
          <p:nvPr>
            <p:ph sz="quarter" idx="11"/>
          </p:nvPr>
        </p:nvSpPr>
        <p:spPr>
          <a:xfrm>
            <a:off x="473075" y="895350"/>
            <a:ext cx="8415338" cy="304800"/>
          </a:xfrm>
        </p:spPr>
        <p:txBody>
          <a:bodyPr/>
          <a:lstStyle/>
          <a:p>
            <a:r>
              <a:rPr lang="el-GR" altLang="el-GR" smtClean="0"/>
              <a:t>Ο κίνδυνος της Ελλάδας είναι ιδιοσυγκρατικός και η περίπτωσή μας ΜΟΝΑΔΙΚΗ </a:t>
            </a:r>
          </a:p>
        </p:txBody>
      </p:sp>
      <p:sp>
        <p:nvSpPr>
          <p:cNvPr id="76803" name="1 - Θέση περιεχομένου"/>
          <p:cNvSpPr>
            <a:spLocks noGrp="1"/>
          </p:cNvSpPr>
          <p:nvPr>
            <p:ph sz="quarter" idx="10"/>
          </p:nvPr>
        </p:nvSpPr>
        <p:spPr>
          <a:xfrm>
            <a:off x="457200" y="433388"/>
            <a:ext cx="8686800" cy="304800"/>
          </a:xfrm>
        </p:spPr>
        <p:txBody>
          <a:bodyPr/>
          <a:lstStyle/>
          <a:p>
            <a:r>
              <a:rPr lang="el-GR" altLang="el-GR" smtClean="0"/>
              <a:t>Η Εξέλιξη του </a:t>
            </a:r>
            <a:r>
              <a:rPr lang="en-US" altLang="el-GR" smtClean="0"/>
              <a:t>spread </a:t>
            </a:r>
            <a:r>
              <a:rPr lang="el-GR" altLang="el-GR" smtClean="0"/>
              <a:t>των 10ετών ομολόγων Ελλάδας, Πορτογαλίας και Ιρλανδίας</a:t>
            </a:r>
          </a:p>
        </p:txBody>
      </p:sp>
      <p:pic>
        <p:nvPicPr>
          <p:cNvPr id="76804"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263" y="1195388"/>
            <a:ext cx="9040812" cy="540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805" name="TextBox 7"/>
          <p:cNvSpPr txBox="1">
            <a:spLocks noChangeArrowheads="1"/>
          </p:cNvSpPr>
          <p:nvPr/>
        </p:nvSpPr>
        <p:spPr bwMode="auto">
          <a:xfrm>
            <a:off x="5148263" y="6524625"/>
            <a:ext cx="37449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
              </a:spcBef>
              <a:buClr>
                <a:srgbClr val="A04DA3"/>
              </a:buClr>
              <a:buFont typeface="Georgia" pitchFamily="18" charset="0"/>
              <a:buChar char="•"/>
              <a:defRPr sz="2800">
                <a:solidFill>
                  <a:schemeClr val="tx1"/>
                </a:solidFill>
                <a:latin typeface="Georgia" pitchFamily="18" charset="0"/>
              </a:defRPr>
            </a:lvl1pPr>
            <a:lvl2pPr marL="742950" indent="-285750" eaLnBrk="0" hangingPunct="0">
              <a:spcBef>
                <a:spcPts val="300"/>
              </a:spcBef>
              <a:buClr>
                <a:schemeClr val="accent2"/>
              </a:buClr>
              <a:buFont typeface="Georgia" pitchFamily="18" charset="0"/>
              <a:buChar char="▫"/>
              <a:defRPr sz="2600">
                <a:solidFill>
                  <a:schemeClr val="accent2"/>
                </a:solidFill>
                <a:latin typeface="Georgia" pitchFamily="18" charset="0"/>
              </a:defRPr>
            </a:lvl2pPr>
            <a:lvl3pPr marL="1143000" indent="-228600" eaLnBrk="0" hangingPunct="0">
              <a:spcBef>
                <a:spcPts val="300"/>
              </a:spcBef>
              <a:buClr>
                <a:schemeClr val="accent1"/>
              </a:buClr>
              <a:buFont typeface="Wingdings 2" pitchFamily="18" charset="2"/>
              <a:buChar char=""/>
              <a:defRPr sz="2400">
                <a:solidFill>
                  <a:schemeClr val="accent1"/>
                </a:solidFill>
                <a:latin typeface="Georgia" pitchFamily="18" charset="0"/>
              </a:defRPr>
            </a:lvl3pPr>
            <a:lvl4pPr marL="1600200" indent="-228600" eaLnBrk="0" hangingPunct="0">
              <a:spcBef>
                <a:spcPts val="300"/>
              </a:spcBef>
              <a:buClr>
                <a:schemeClr val="accent1"/>
              </a:buClr>
              <a:buFont typeface="Wingdings 2" pitchFamily="18" charset="2"/>
              <a:buChar char=""/>
              <a:defRPr sz="2200">
                <a:solidFill>
                  <a:schemeClr val="accent1"/>
                </a:solidFill>
                <a:latin typeface="Georgia" pitchFamily="18" charset="0"/>
              </a:defRPr>
            </a:lvl4pPr>
            <a:lvl5pPr marL="2057400" indent="-228600" eaLnBrk="0" hangingPunct="0">
              <a:spcBef>
                <a:spcPts val="300"/>
              </a:spcBef>
              <a:buClr>
                <a:srgbClr val="A04DA3"/>
              </a:buClr>
              <a:buFont typeface="Georgia" pitchFamily="18" charset="0"/>
              <a:buChar char="▫"/>
              <a:defRPr sz="2000">
                <a:solidFill>
                  <a:srgbClr val="A04DA3"/>
                </a:solidFill>
                <a:latin typeface="Georgia" pitchFamily="18" charset="0"/>
              </a:defRPr>
            </a:lvl5pPr>
            <a:lvl6pPr marL="25146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6pPr>
            <a:lvl7pPr marL="29718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7pPr>
            <a:lvl8pPr marL="34290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8pPr>
            <a:lvl9pPr marL="38862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9pPr>
          </a:lstStyle>
          <a:p>
            <a:pPr algn="r" eaLnBrk="1" hangingPunct="1">
              <a:spcBef>
                <a:spcPct val="0"/>
              </a:spcBef>
              <a:buClrTx/>
              <a:buFontTx/>
              <a:buNone/>
            </a:pPr>
            <a:r>
              <a:rPr lang="el-GR" altLang="el-GR" sz="1400">
                <a:solidFill>
                  <a:srgbClr val="000000"/>
                </a:solidFill>
                <a:latin typeface="Times New Roman" pitchFamily="18" charset="0"/>
              </a:rPr>
              <a:t>Πηγή: </a:t>
            </a:r>
            <a:r>
              <a:rPr lang="en-US" altLang="el-GR" sz="1400">
                <a:solidFill>
                  <a:srgbClr val="000000"/>
                </a:solidFill>
                <a:latin typeface="Times New Roman" pitchFamily="18" charset="0"/>
              </a:rPr>
              <a:t>Thomson Reuters Datastream</a:t>
            </a:r>
            <a:endParaRPr lang="el-GR" altLang="el-GR" sz="1400">
              <a:solidFill>
                <a:srgbClr val="000000"/>
              </a:solidFill>
              <a:latin typeface="Times New Roman" pitchFamily="18" charset="0"/>
            </a:endParaRPr>
          </a:p>
        </p:txBody>
      </p:sp>
    </p:spTree>
    <p:extLst>
      <p:ext uri="{BB962C8B-B14F-4D97-AF65-F5344CB8AC3E}">
        <p14:creationId xmlns:p14="http://schemas.microsoft.com/office/powerpoint/2010/main" val="3226174737"/>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1 - Θέση περιεχομένου"/>
          <p:cNvSpPr>
            <a:spLocks noGrp="1"/>
          </p:cNvSpPr>
          <p:nvPr>
            <p:ph sz="quarter" idx="10"/>
          </p:nvPr>
        </p:nvSpPr>
        <p:spPr>
          <a:xfrm>
            <a:off x="457200" y="433388"/>
            <a:ext cx="8686800" cy="304800"/>
          </a:xfrm>
        </p:spPr>
        <p:txBody>
          <a:bodyPr/>
          <a:lstStyle/>
          <a:p>
            <a:endParaRPr lang="en-US" altLang="el-GR" smtClean="0"/>
          </a:p>
        </p:txBody>
      </p:sp>
      <p:sp>
        <p:nvSpPr>
          <p:cNvPr id="77827" name="2 - Θέση περιεχομένου"/>
          <p:cNvSpPr>
            <a:spLocks noGrp="1"/>
          </p:cNvSpPr>
          <p:nvPr>
            <p:ph sz="quarter" idx="11"/>
          </p:nvPr>
        </p:nvSpPr>
        <p:spPr>
          <a:xfrm>
            <a:off x="473075" y="895350"/>
            <a:ext cx="8415338" cy="304800"/>
          </a:xfrm>
        </p:spPr>
        <p:txBody>
          <a:bodyPr/>
          <a:lstStyle/>
          <a:p>
            <a:r>
              <a:rPr lang="el-GR" altLang="el-GR" smtClean="0"/>
              <a:t>Πορεία  τιμής Εθνικής τράπεζας της Ελλάδος</a:t>
            </a:r>
            <a:endParaRPr lang="en-US" altLang="el-GR" smtClean="0"/>
          </a:p>
        </p:txBody>
      </p:sp>
      <p:pic>
        <p:nvPicPr>
          <p:cNvPr id="7782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25" y="1285875"/>
            <a:ext cx="9048750" cy="528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5142251"/>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endParaRPr lang="el-GR"/>
          </a:p>
        </p:txBody>
      </p:sp>
      <p:sp>
        <p:nvSpPr>
          <p:cNvPr id="3" name="Content Placeholder 2"/>
          <p:cNvSpPr>
            <a:spLocks noGrp="1"/>
          </p:cNvSpPr>
          <p:nvPr>
            <p:ph sz="quarter" idx="11"/>
          </p:nvPr>
        </p:nvSpPr>
        <p:spPr/>
        <p:txBody>
          <a:bodyPr/>
          <a:lstStyle/>
          <a:p>
            <a:endParaRPr lang="el-GR"/>
          </a:p>
        </p:txBody>
      </p:sp>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7013" t="11106" r="36198" b="34627"/>
          <a:stretch/>
        </p:blipFill>
        <p:spPr bwMode="auto">
          <a:xfrm>
            <a:off x="251520" y="116632"/>
            <a:ext cx="8712968" cy="6591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675595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Content Placeholder 2"/>
          <p:cNvSpPr>
            <a:spLocks noGrp="1"/>
          </p:cNvSpPr>
          <p:nvPr>
            <p:ph sz="quarter" idx="11"/>
          </p:nvPr>
        </p:nvSpPr>
        <p:spPr>
          <a:xfrm>
            <a:off x="473075" y="895350"/>
            <a:ext cx="8415338" cy="304800"/>
          </a:xfrm>
        </p:spPr>
        <p:txBody>
          <a:bodyPr/>
          <a:lstStyle/>
          <a:p>
            <a:r>
              <a:rPr lang="el-GR" altLang="el-GR" smtClean="0"/>
              <a:t>Ο κίνδυνος της Ελλάδας είναι ιδιοσυγκρατικός και η περίπτωσή μας ΜΟΝΑΔΙΚΗ </a:t>
            </a:r>
          </a:p>
        </p:txBody>
      </p:sp>
      <p:sp>
        <p:nvSpPr>
          <p:cNvPr id="76803" name="1 - Θέση περιεχομένου"/>
          <p:cNvSpPr>
            <a:spLocks noGrp="1"/>
          </p:cNvSpPr>
          <p:nvPr>
            <p:ph sz="quarter" idx="10"/>
          </p:nvPr>
        </p:nvSpPr>
        <p:spPr>
          <a:xfrm>
            <a:off x="457200" y="433388"/>
            <a:ext cx="8686800" cy="304800"/>
          </a:xfrm>
        </p:spPr>
        <p:txBody>
          <a:bodyPr/>
          <a:lstStyle/>
          <a:p>
            <a:r>
              <a:rPr lang="el-GR" altLang="el-GR" smtClean="0"/>
              <a:t>Η Εξέλιξη του </a:t>
            </a:r>
            <a:r>
              <a:rPr lang="en-US" altLang="el-GR" smtClean="0"/>
              <a:t>spread </a:t>
            </a:r>
            <a:r>
              <a:rPr lang="el-GR" altLang="el-GR" smtClean="0"/>
              <a:t>των 10ετών ομολόγων Ελλάδας, Πορτογαλίας και Ιρλανδίας</a:t>
            </a:r>
          </a:p>
        </p:txBody>
      </p:sp>
      <p:pic>
        <p:nvPicPr>
          <p:cNvPr id="76804"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263" y="1195388"/>
            <a:ext cx="9040812" cy="540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805" name="TextBox 7"/>
          <p:cNvSpPr txBox="1">
            <a:spLocks noChangeArrowheads="1"/>
          </p:cNvSpPr>
          <p:nvPr/>
        </p:nvSpPr>
        <p:spPr bwMode="auto">
          <a:xfrm>
            <a:off x="5148263" y="6524625"/>
            <a:ext cx="37449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
              </a:spcBef>
              <a:buClr>
                <a:srgbClr val="A04DA3"/>
              </a:buClr>
              <a:buFont typeface="Georgia" pitchFamily="18" charset="0"/>
              <a:buChar char="•"/>
              <a:defRPr sz="2800">
                <a:solidFill>
                  <a:schemeClr val="tx1"/>
                </a:solidFill>
                <a:latin typeface="Georgia" pitchFamily="18" charset="0"/>
              </a:defRPr>
            </a:lvl1pPr>
            <a:lvl2pPr marL="742950" indent="-285750" eaLnBrk="0" hangingPunct="0">
              <a:spcBef>
                <a:spcPts val="300"/>
              </a:spcBef>
              <a:buClr>
                <a:schemeClr val="accent2"/>
              </a:buClr>
              <a:buFont typeface="Georgia" pitchFamily="18" charset="0"/>
              <a:buChar char="▫"/>
              <a:defRPr sz="2600">
                <a:solidFill>
                  <a:schemeClr val="accent2"/>
                </a:solidFill>
                <a:latin typeface="Georgia" pitchFamily="18" charset="0"/>
              </a:defRPr>
            </a:lvl2pPr>
            <a:lvl3pPr marL="1143000" indent="-228600" eaLnBrk="0" hangingPunct="0">
              <a:spcBef>
                <a:spcPts val="300"/>
              </a:spcBef>
              <a:buClr>
                <a:schemeClr val="accent1"/>
              </a:buClr>
              <a:buFont typeface="Wingdings 2" pitchFamily="18" charset="2"/>
              <a:buChar char=""/>
              <a:defRPr sz="2400">
                <a:solidFill>
                  <a:schemeClr val="accent1"/>
                </a:solidFill>
                <a:latin typeface="Georgia" pitchFamily="18" charset="0"/>
              </a:defRPr>
            </a:lvl3pPr>
            <a:lvl4pPr marL="1600200" indent="-228600" eaLnBrk="0" hangingPunct="0">
              <a:spcBef>
                <a:spcPts val="300"/>
              </a:spcBef>
              <a:buClr>
                <a:schemeClr val="accent1"/>
              </a:buClr>
              <a:buFont typeface="Wingdings 2" pitchFamily="18" charset="2"/>
              <a:buChar char=""/>
              <a:defRPr sz="2200">
                <a:solidFill>
                  <a:schemeClr val="accent1"/>
                </a:solidFill>
                <a:latin typeface="Georgia" pitchFamily="18" charset="0"/>
              </a:defRPr>
            </a:lvl4pPr>
            <a:lvl5pPr marL="2057400" indent="-228600" eaLnBrk="0" hangingPunct="0">
              <a:spcBef>
                <a:spcPts val="300"/>
              </a:spcBef>
              <a:buClr>
                <a:srgbClr val="A04DA3"/>
              </a:buClr>
              <a:buFont typeface="Georgia" pitchFamily="18" charset="0"/>
              <a:buChar char="▫"/>
              <a:defRPr sz="2000">
                <a:solidFill>
                  <a:srgbClr val="A04DA3"/>
                </a:solidFill>
                <a:latin typeface="Georgia" pitchFamily="18" charset="0"/>
              </a:defRPr>
            </a:lvl5pPr>
            <a:lvl6pPr marL="25146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6pPr>
            <a:lvl7pPr marL="29718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7pPr>
            <a:lvl8pPr marL="34290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8pPr>
            <a:lvl9pPr marL="38862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9pPr>
          </a:lstStyle>
          <a:p>
            <a:pPr algn="r" eaLnBrk="1" hangingPunct="1">
              <a:spcBef>
                <a:spcPct val="0"/>
              </a:spcBef>
              <a:buClrTx/>
              <a:buFontTx/>
              <a:buNone/>
            </a:pPr>
            <a:r>
              <a:rPr lang="el-GR" altLang="el-GR" sz="1400">
                <a:solidFill>
                  <a:srgbClr val="000000"/>
                </a:solidFill>
                <a:latin typeface="Times New Roman" pitchFamily="18" charset="0"/>
              </a:rPr>
              <a:t>Πηγή: </a:t>
            </a:r>
            <a:r>
              <a:rPr lang="en-US" altLang="el-GR" sz="1400">
                <a:solidFill>
                  <a:srgbClr val="000000"/>
                </a:solidFill>
                <a:latin typeface="Times New Roman" pitchFamily="18" charset="0"/>
              </a:rPr>
              <a:t>Thomson Reuters Datastream</a:t>
            </a:r>
            <a:endParaRPr lang="el-GR" altLang="el-GR" sz="1400">
              <a:solidFill>
                <a:srgbClr val="000000"/>
              </a:solidFill>
              <a:latin typeface="Times New Roman" pitchFamily="18" charset="0"/>
            </a:endParaRPr>
          </a:p>
        </p:txBody>
      </p:sp>
    </p:spTree>
    <p:extLst>
      <p:ext uri="{BB962C8B-B14F-4D97-AF65-F5344CB8AC3E}">
        <p14:creationId xmlns:p14="http://schemas.microsoft.com/office/powerpoint/2010/main" val="3226174737"/>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0" y="116632"/>
            <a:ext cx="9144000" cy="6624736"/>
          </a:xfrm>
          <a:prstGeom prst="rect">
            <a:avLst/>
          </a:prstGeom>
          <a:noFill/>
          <a:ln>
            <a:noFill/>
          </a:ln>
        </p:spPr>
      </p:pic>
    </p:spTree>
    <p:extLst>
      <p:ext uri="{BB962C8B-B14F-4D97-AF65-F5344CB8AC3E}">
        <p14:creationId xmlns:p14="http://schemas.microsoft.com/office/powerpoint/2010/main" val="3301708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περιεχομένου"/>
          <p:cNvSpPr>
            <a:spLocks noGrp="1"/>
          </p:cNvSpPr>
          <p:nvPr>
            <p:ph sz="quarter" idx="10"/>
          </p:nvPr>
        </p:nvSpPr>
        <p:spPr/>
        <p:txBody>
          <a:bodyPr/>
          <a:lstStyle/>
          <a:p>
            <a:endParaRPr lang="el-GR"/>
          </a:p>
        </p:txBody>
      </p:sp>
      <p:sp>
        <p:nvSpPr>
          <p:cNvPr id="3" name="2 - Θέση περιεχομένου"/>
          <p:cNvSpPr>
            <a:spLocks noGrp="1"/>
          </p:cNvSpPr>
          <p:nvPr>
            <p:ph sz="quarter" idx="11"/>
          </p:nvPr>
        </p:nvSpPr>
        <p:spPr/>
        <p:txBody>
          <a:bodyPr/>
          <a:lstStyle/>
          <a:p>
            <a:endParaRPr lang="el-GR"/>
          </a:p>
        </p:txBody>
      </p:sp>
      <p:pic>
        <p:nvPicPr>
          <p:cNvPr id="218114" name="Picture 2"/>
          <p:cNvPicPr>
            <a:picLocks noChangeAspect="1" noChangeArrowheads="1"/>
          </p:cNvPicPr>
          <p:nvPr/>
        </p:nvPicPr>
        <p:blipFill>
          <a:blip r:embed="rId2" cstate="print"/>
          <a:srcRect/>
          <a:stretch>
            <a:fillRect/>
          </a:stretch>
        </p:blipFill>
        <p:spPr bwMode="auto">
          <a:xfrm>
            <a:off x="323528" y="1379806"/>
            <a:ext cx="8709347" cy="5395644"/>
          </a:xfrm>
          <a:prstGeom prst="rect">
            <a:avLst/>
          </a:prstGeom>
          <a:noFill/>
          <a:ln w="9525">
            <a:noFill/>
            <a:miter lim="800000"/>
            <a:headEnd/>
            <a:tailEnd/>
          </a:ln>
          <a:effectLst/>
        </p:spPr>
      </p:pic>
      <p:pic>
        <p:nvPicPr>
          <p:cNvPr id="882690" name="Picture 2" descr="C:\Users\user\Desktop\image\Presentation1\Διαφάνεια1.JPG"/>
          <p:cNvPicPr>
            <a:picLocks noChangeAspect="1" noChangeArrowheads="1"/>
          </p:cNvPicPr>
          <p:nvPr/>
        </p:nvPicPr>
        <p:blipFill>
          <a:blip r:embed="rId3"/>
          <a:srcRect/>
          <a:stretch>
            <a:fillRect/>
          </a:stretch>
        </p:blipFill>
        <p:spPr bwMode="auto">
          <a:xfrm>
            <a:off x="0" y="0"/>
            <a:ext cx="9144000" cy="6858000"/>
          </a:xfrm>
          <a:prstGeom prst="rect">
            <a:avLst/>
          </a:prstGeom>
          <a:noFill/>
        </p:spPr>
      </p:pic>
    </p:spTree>
    <p:extLst>
      <p:ext uri="{BB962C8B-B14F-4D97-AF65-F5344CB8AC3E}">
        <p14:creationId xmlns:p14="http://schemas.microsoft.com/office/powerpoint/2010/main" val="27548151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l-GR" dirty="0"/>
          </a:p>
        </p:txBody>
      </p:sp>
      <p:sp>
        <p:nvSpPr>
          <p:cNvPr id="3" name="Content Placeholder 2"/>
          <p:cNvSpPr>
            <a:spLocks noGrp="1"/>
          </p:cNvSpPr>
          <p:nvPr>
            <p:ph idx="1"/>
          </p:nvPr>
        </p:nvSpPr>
        <p:spPr/>
        <p:txBody>
          <a:bodyPr/>
          <a:lstStyle/>
          <a:p>
            <a:endParaRPr lang="el-GR" dirty="0"/>
          </a:p>
        </p:txBody>
      </p:sp>
      <p:sp>
        <p:nvSpPr>
          <p:cNvPr id="4" name="AutoShape 2" descr="Αποτέλεσμα εικόνας για save more tomorro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l-GR"/>
          </a:p>
        </p:txBody>
      </p:sp>
      <p:sp>
        <p:nvSpPr>
          <p:cNvPr id="5" name="AutoShape 4" descr="Αποτέλεσμα εικόνας για save more tomorrow"/>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l-GR"/>
          </a:p>
        </p:txBody>
      </p:sp>
      <p:pic>
        <p:nvPicPr>
          <p:cNvPr id="7170" name="Picture 2" descr="Αποτέλεσμα εικόνας για save more tomorro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39752" y="121204"/>
            <a:ext cx="3816424" cy="57412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82987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p:cNvSpPr>
            <a:spLocks noGrp="1" noChangeArrowheads="1"/>
          </p:cNvSpPr>
          <p:nvPr>
            <p:ph type="title"/>
          </p:nvPr>
        </p:nvSpPr>
        <p:spPr>
          <a:xfrm>
            <a:off x="381000" y="-100013"/>
            <a:ext cx="8524875" cy="1066801"/>
          </a:xfrm>
        </p:spPr>
        <p:txBody>
          <a:bodyPr/>
          <a:lstStyle/>
          <a:p>
            <a:pPr algn="ctr"/>
            <a:r>
              <a:rPr lang="en-US" altLang="el-GR" smtClean="0"/>
              <a:t>Behavioral time machine</a:t>
            </a:r>
            <a:endParaRPr lang="el-GR" altLang="el-GR" dirty="0" smtClean="0"/>
          </a:p>
        </p:txBody>
      </p:sp>
      <p:sp>
        <p:nvSpPr>
          <p:cNvPr id="140291" name="Rectangle 3"/>
          <p:cNvSpPr>
            <a:spLocks noGrp="1" noChangeArrowheads="1"/>
          </p:cNvSpPr>
          <p:nvPr>
            <p:ph type="body" idx="1"/>
          </p:nvPr>
        </p:nvSpPr>
        <p:spPr>
          <a:xfrm>
            <a:off x="0" y="1341438"/>
            <a:ext cx="3059113" cy="5257800"/>
          </a:xfrm>
        </p:spPr>
        <p:txBody>
          <a:bodyPr/>
          <a:lstStyle/>
          <a:p>
            <a:pPr>
              <a:lnSpc>
                <a:spcPct val="90000"/>
              </a:lnSpc>
              <a:buFont typeface="Wingdings" pitchFamily="2" charset="2"/>
              <a:buNone/>
            </a:pPr>
            <a:r>
              <a:rPr lang="en-GB" altLang="el-GR" sz="2400" dirty="0" smtClean="0"/>
              <a:t>	</a:t>
            </a:r>
            <a:r>
              <a:rPr lang="el-GR" altLang="el-GR" sz="2400" dirty="0" smtClean="0"/>
              <a:t>Βοηθά τα άτομα να φανταστούν τον εαυτό τους στο μέλλον, παρουσιάζοντας μια </a:t>
            </a:r>
            <a:r>
              <a:rPr lang="el-GR" altLang="el-GR" sz="2400" dirty="0" err="1" smtClean="0"/>
              <a:t>οπτικοποιημένη</a:t>
            </a:r>
            <a:r>
              <a:rPr lang="el-GR" altLang="el-GR" sz="2400" dirty="0" smtClean="0"/>
              <a:t> εικόνα του εαυτού τους. </a:t>
            </a:r>
            <a:r>
              <a:rPr lang="el-GR" altLang="el-GR" sz="2400" dirty="0" err="1" smtClean="0"/>
              <a:t>Daniel</a:t>
            </a:r>
            <a:r>
              <a:rPr lang="el-GR" altLang="el-GR" sz="2400" dirty="0" smtClean="0"/>
              <a:t> </a:t>
            </a:r>
            <a:r>
              <a:rPr lang="el-GR" altLang="el-GR" sz="2400" dirty="0" err="1" smtClean="0"/>
              <a:t>Goldstein</a:t>
            </a:r>
            <a:endParaRPr lang="el-GR" altLang="el-GR" sz="2400" dirty="0" smtClean="0"/>
          </a:p>
          <a:p>
            <a:pPr>
              <a:lnSpc>
                <a:spcPct val="90000"/>
              </a:lnSpc>
              <a:buFont typeface="Wingdings" pitchFamily="2" charset="2"/>
              <a:buNone/>
            </a:pPr>
            <a:endParaRPr lang="el-GR" altLang="el-GR" sz="2400" dirty="0" smtClean="0"/>
          </a:p>
          <a:p>
            <a:pPr>
              <a:lnSpc>
                <a:spcPct val="90000"/>
              </a:lnSpc>
              <a:buFont typeface="Wingdings" pitchFamily="2" charset="2"/>
              <a:buNone/>
            </a:pPr>
            <a:r>
              <a:rPr lang="el-GR" altLang="el-GR" sz="2400" dirty="0" smtClean="0"/>
              <a:t>	Αύξηση των αποταμιεύσεων σήμερα για ένα καλύτερο μέλλον.</a:t>
            </a:r>
          </a:p>
        </p:txBody>
      </p:sp>
      <p:pic>
        <p:nvPicPr>
          <p:cNvPr id="14029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white">
          <a:xfrm>
            <a:off x="3348038" y="1176338"/>
            <a:ext cx="5761037" cy="568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27075801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2985" t="23186" r="6612" b="16634"/>
          <a:stretch/>
        </p:blipFill>
        <p:spPr bwMode="auto">
          <a:xfrm>
            <a:off x="107504" y="620688"/>
            <a:ext cx="8898838" cy="5544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388448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περιεχομένου"/>
          <p:cNvSpPr>
            <a:spLocks noGrp="1"/>
          </p:cNvSpPr>
          <p:nvPr>
            <p:ph sz="quarter" idx="10"/>
          </p:nvPr>
        </p:nvSpPr>
        <p:spPr/>
        <p:txBody>
          <a:bodyPr/>
          <a:lstStyle/>
          <a:p>
            <a:r>
              <a:rPr lang="el-GR" dirty="0" smtClean="0"/>
              <a:t>Δημογραφική Πυραμίδα του Πλανήτη για το 2010, 2025 και 2050</a:t>
            </a:r>
            <a:endParaRPr lang="el-GR" dirty="0"/>
          </a:p>
        </p:txBody>
      </p:sp>
      <p:sp>
        <p:nvSpPr>
          <p:cNvPr id="3" name="2 - Θέση περιεχομένου"/>
          <p:cNvSpPr>
            <a:spLocks noGrp="1"/>
          </p:cNvSpPr>
          <p:nvPr>
            <p:ph sz="quarter" idx="11"/>
          </p:nvPr>
        </p:nvSpPr>
        <p:spPr/>
        <p:txBody>
          <a:bodyPr/>
          <a:lstStyle/>
          <a:p>
            <a:endParaRPr lang="el-GR"/>
          </a:p>
        </p:txBody>
      </p:sp>
      <p:pic>
        <p:nvPicPr>
          <p:cNvPr id="131074" name="Picture 2"/>
          <p:cNvPicPr>
            <a:picLocks noChangeAspect="1" noChangeArrowheads="1"/>
          </p:cNvPicPr>
          <p:nvPr/>
        </p:nvPicPr>
        <p:blipFill>
          <a:blip r:embed="rId2" cstate="print"/>
          <a:srcRect/>
          <a:stretch>
            <a:fillRect/>
          </a:stretch>
        </p:blipFill>
        <p:spPr bwMode="auto">
          <a:xfrm>
            <a:off x="179512" y="1412776"/>
            <a:ext cx="8712968" cy="4974634"/>
          </a:xfrm>
          <a:prstGeom prst="rect">
            <a:avLst/>
          </a:prstGeom>
          <a:noFill/>
          <a:ln w="9525">
            <a:noFill/>
            <a:miter lim="800000"/>
            <a:headEnd/>
            <a:tailEnd/>
          </a:ln>
        </p:spPr>
      </p:pic>
    </p:spTree>
    <p:extLst>
      <p:ext uri="{BB962C8B-B14F-4D97-AF65-F5344CB8AC3E}">
        <p14:creationId xmlns:p14="http://schemas.microsoft.com/office/powerpoint/2010/main" val="25350596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3" name="Rectangle 5"/>
          <p:cNvSpPr>
            <a:spLocks noGrp="1" noChangeArrowheads="1"/>
          </p:cNvSpPr>
          <p:nvPr>
            <p:ph type="title"/>
          </p:nvPr>
        </p:nvSpPr>
        <p:spPr>
          <a:xfrm>
            <a:off x="2771775" y="620713"/>
            <a:ext cx="3816350" cy="581025"/>
          </a:xfrm>
        </p:spPr>
        <p:txBody>
          <a:bodyPr>
            <a:normAutofit fontScale="90000"/>
          </a:bodyPr>
          <a:lstStyle/>
          <a:p>
            <a:pPr algn="ctr" eaLnBrk="1" hangingPunct="1">
              <a:defRPr/>
            </a:pPr>
            <a:r>
              <a:rPr lang="el-GR" b="1" i="1" dirty="0" smtClean="0">
                <a:solidFill>
                  <a:schemeClr val="tx2">
                    <a:lumMod val="75000"/>
                  </a:schemeClr>
                </a:solidFill>
                <a:latin typeface="Times New Roman" pitchFamily="18" charset="0"/>
              </a:rPr>
              <a:t>Μυωπία</a:t>
            </a:r>
          </a:p>
        </p:txBody>
      </p:sp>
      <p:pic>
        <p:nvPicPr>
          <p:cNvPr id="70659" name="Picture 6"/>
          <p:cNvPicPr>
            <a:picLocks noChangeAspect="1" noChangeArrowheads="1"/>
          </p:cNvPicPr>
          <p:nvPr/>
        </p:nvPicPr>
        <p:blipFill>
          <a:blip r:embed="rId3">
            <a:extLst>
              <a:ext uri="{28A0092B-C50C-407E-A947-70E740481C1C}">
                <a14:useLocalDpi xmlns:a14="http://schemas.microsoft.com/office/drawing/2010/main" val="0"/>
              </a:ext>
            </a:extLst>
          </a:blip>
          <a:srcRect r="44580"/>
          <a:stretch>
            <a:fillRect/>
          </a:stretch>
        </p:blipFill>
        <p:spPr bwMode="auto">
          <a:xfrm>
            <a:off x="3132138" y="1446213"/>
            <a:ext cx="2808287" cy="529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44374616"/>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περιεχομένου"/>
          <p:cNvSpPr>
            <a:spLocks noGrp="1"/>
          </p:cNvSpPr>
          <p:nvPr>
            <p:ph sz="quarter" idx="10"/>
          </p:nvPr>
        </p:nvSpPr>
        <p:spPr/>
        <p:txBody>
          <a:bodyPr/>
          <a:lstStyle/>
          <a:p>
            <a:r>
              <a:rPr lang="el-GR" dirty="0" smtClean="0"/>
              <a:t>Δημογραφική Πυραμίδα Αναπτυγμένων χωρών για το 2010, 2025 και 2050</a:t>
            </a:r>
            <a:endParaRPr lang="el-GR" dirty="0"/>
          </a:p>
        </p:txBody>
      </p:sp>
      <p:sp>
        <p:nvSpPr>
          <p:cNvPr id="3" name="2 - Θέση περιεχομένου"/>
          <p:cNvSpPr>
            <a:spLocks noGrp="1"/>
          </p:cNvSpPr>
          <p:nvPr>
            <p:ph sz="quarter" idx="11"/>
          </p:nvPr>
        </p:nvSpPr>
        <p:spPr/>
        <p:txBody>
          <a:bodyPr/>
          <a:lstStyle/>
          <a:p>
            <a:endParaRPr lang="el-GR"/>
          </a:p>
        </p:txBody>
      </p:sp>
      <p:pic>
        <p:nvPicPr>
          <p:cNvPr id="132098" name="Picture 2"/>
          <p:cNvPicPr>
            <a:picLocks noChangeAspect="1" noChangeArrowheads="1"/>
          </p:cNvPicPr>
          <p:nvPr/>
        </p:nvPicPr>
        <p:blipFill>
          <a:blip r:embed="rId2" cstate="print"/>
          <a:srcRect/>
          <a:stretch>
            <a:fillRect/>
          </a:stretch>
        </p:blipFill>
        <p:spPr bwMode="auto">
          <a:xfrm>
            <a:off x="251520" y="1340768"/>
            <a:ext cx="8640960" cy="5282530"/>
          </a:xfrm>
          <a:prstGeom prst="rect">
            <a:avLst/>
          </a:prstGeom>
          <a:noFill/>
          <a:ln w="9525">
            <a:noFill/>
            <a:miter lim="800000"/>
            <a:headEnd/>
            <a:tailEnd/>
          </a:ln>
        </p:spPr>
      </p:pic>
    </p:spTree>
    <p:extLst>
      <p:ext uri="{BB962C8B-B14F-4D97-AF65-F5344CB8AC3E}">
        <p14:creationId xmlns:p14="http://schemas.microsoft.com/office/powerpoint/2010/main" val="19681430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περιεχομένου"/>
          <p:cNvSpPr>
            <a:spLocks noGrp="1"/>
          </p:cNvSpPr>
          <p:nvPr>
            <p:ph sz="quarter" idx="10"/>
          </p:nvPr>
        </p:nvSpPr>
        <p:spPr/>
        <p:txBody>
          <a:bodyPr/>
          <a:lstStyle/>
          <a:p>
            <a:r>
              <a:rPr lang="el-GR" dirty="0" smtClean="0"/>
              <a:t>Δημογραφική Πυραμίδα Αναπτυσσομένων χωρών για το 2010, 2025 και 2050</a:t>
            </a:r>
            <a:endParaRPr lang="el-GR" dirty="0"/>
          </a:p>
        </p:txBody>
      </p:sp>
      <p:sp>
        <p:nvSpPr>
          <p:cNvPr id="3" name="2 - Θέση περιεχομένου"/>
          <p:cNvSpPr>
            <a:spLocks noGrp="1"/>
          </p:cNvSpPr>
          <p:nvPr>
            <p:ph sz="quarter" idx="11"/>
          </p:nvPr>
        </p:nvSpPr>
        <p:spPr/>
        <p:txBody>
          <a:bodyPr/>
          <a:lstStyle/>
          <a:p>
            <a:endParaRPr lang="el-GR"/>
          </a:p>
        </p:txBody>
      </p:sp>
      <p:pic>
        <p:nvPicPr>
          <p:cNvPr id="133122" name="Picture 2"/>
          <p:cNvPicPr>
            <a:picLocks noChangeAspect="1" noChangeArrowheads="1"/>
          </p:cNvPicPr>
          <p:nvPr/>
        </p:nvPicPr>
        <p:blipFill>
          <a:blip r:embed="rId2" cstate="print"/>
          <a:srcRect t="2148"/>
          <a:stretch>
            <a:fillRect/>
          </a:stretch>
        </p:blipFill>
        <p:spPr bwMode="auto">
          <a:xfrm>
            <a:off x="323528" y="1412776"/>
            <a:ext cx="8820472" cy="5256270"/>
          </a:xfrm>
          <a:prstGeom prst="rect">
            <a:avLst/>
          </a:prstGeom>
          <a:noFill/>
          <a:ln w="9525">
            <a:noFill/>
            <a:miter lim="800000"/>
            <a:headEnd/>
            <a:tailEnd/>
          </a:ln>
        </p:spPr>
      </p:pic>
    </p:spTree>
    <p:extLst>
      <p:ext uri="{BB962C8B-B14F-4D97-AF65-F5344CB8AC3E}">
        <p14:creationId xmlns:p14="http://schemas.microsoft.com/office/powerpoint/2010/main" val="10751120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περιεχομένου"/>
          <p:cNvSpPr>
            <a:spLocks noGrp="1"/>
          </p:cNvSpPr>
          <p:nvPr>
            <p:ph sz="quarter" idx="10"/>
          </p:nvPr>
        </p:nvSpPr>
        <p:spPr/>
        <p:txBody>
          <a:bodyPr/>
          <a:lstStyle/>
          <a:p>
            <a:r>
              <a:rPr lang="el-GR" dirty="0" smtClean="0"/>
              <a:t>Δημογραφική Πυραμίδα Ελλάδας για το 2010, 2025 και 2050</a:t>
            </a:r>
            <a:endParaRPr lang="el-GR" dirty="0"/>
          </a:p>
        </p:txBody>
      </p:sp>
      <p:sp>
        <p:nvSpPr>
          <p:cNvPr id="3" name="2 - Θέση περιεχομένου"/>
          <p:cNvSpPr>
            <a:spLocks noGrp="1"/>
          </p:cNvSpPr>
          <p:nvPr>
            <p:ph sz="quarter" idx="11"/>
          </p:nvPr>
        </p:nvSpPr>
        <p:spPr/>
        <p:txBody>
          <a:bodyPr/>
          <a:lstStyle/>
          <a:p>
            <a:endParaRPr lang="el-GR"/>
          </a:p>
        </p:txBody>
      </p:sp>
      <p:pic>
        <p:nvPicPr>
          <p:cNvPr id="134146" name="Picture 2"/>
          <p:cNvPicPr>
            <a:picLocks noChangeAspect="1" noChangeArrowheads="1"/>
          </p:cNvPicPr>
          <p:nvPr/>
        </p:nvPicPr>
        <p:blipFill>
          <a:blip r:embed="rId2" cstate="print"/>
          <a:srcRect/>
          <a:stretch>
            <a:fillRect/>
          </a:stretch>
        </p:blipFill>
        <p:spPr bwMode="auto">
          <a:xfrm>
            <a:off x="179512" y="1340768"/>
            <a:ext cx="8937590" cy="5040560"/>
          </a:xfrm>
          <a:prstGeom prst="rect">
            <a:avLst/>
          </a:prstGeom>
          <a:noFill/>
          <a:ln w="9525">
            <a:noFill/>
            <a:miter lim="800000"/>
            <a:headEnd/>
            <a:tailEnd/>
          </a:ln>
        </p:spPr>
      </p:pic>
    </p:spTree>
    <p:extLst>
      <p:ext uri="{BB962C8B-B14F-4D97-AF65-F5344CB8AC3E}">
        <p14:creationId xmlns:p14="http://schemas.microsoft.com/office/powerpoint/2010/main" val="15161660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l-GR" dirty="0" smtClean="0"/>
              <a:t>Δημογραφικό Πρόβλημα στην Ευρώπη &amp; την Ελλάδα</a:t>
            </a:r>
            <a:endParaRPr lang="el-GR" dirty="0"/>
          </a:p>
        </p:txBody>
      </p:sp>
      <p:sp>
        <p:nvSpPr>
          <p:cNvPr id="3" name="Content Placeholder 2"/>
          <p:cNvSpPr>
            <a:spLocks noGrp="1"/>
          </p:cNvSpPr>
          <p:nvPr>
            <p:ph sz="quarter" idx="11"/>
          </p:nvPr>
        </p:nvSpPr>
        <p:spPr/>
        <p:txBody>
          <a:bodyPr/>
          <a:lstStyle/>
          <a:p>
            <a:r>
              <a:rPr lang="el-GR" dirty="0" smtClean="0"/>
              <a:t>Οι Δείκτες Εξάρτησης  για τις γεωγραφικές περιφέρειες</a:t>
            </a:r>
          </a:p>
        </p:txBody>
      </p:sp>
      <p:sp>
        <p:nvSpPr>
          <p:cNvPr id="5" name="Rectangle 4"/>
          <p:cNvSpPr>
            <a:spLocks noChangeArrowheads="1"/>
          </p:cNvSpPr>
          <p:nvPr/>
        </p:nvSpPr>
        <p:spPr bwMode="auto">
          <a:xfrm>
            <a:off x="3600450" y="6596064"/>
            <a:ext cx="5250473" cy="293687"/>
          </a:xfrm>
          <a:prstGeom prst="rect">
            <a:avLst/>
          </a:prstGeom>
          <a:noFill/>
          <a:ln w="9525">
            <a:noFill/>
            <a:miter lim="800000"/>
            <a:headEnd/>
            <a:tailEnd/>
          </a:ln>
          <a:effectLst>
            <a:prstShdw prst="shdw17" dist="17961" dir="2700000">
              <a:schemeClr val="accent1">
                <a:gamma/>
                <a:shade val="60000"/>
                <a:invGamma/>
              </a:schemeClr>
            </a:prstShdw>
          </a:effectLst>
        </p:spPr>
        <p:txBody>
          <a:bodyPr anchor="ctr">
            <a:spAutoFit/>
          </a:bodyPr>
          <a:lstStyle/>
          <a:p>
            <a:pPr algn="r" eaLnBrk="0" hangingPunct="0">
              <a:defRPr/>
            </a:pPr>
            <a:r>
              <a:rPr lang="el-GR" sz="1300" i="1" dirty="0">
                <a:latin typeface="Calibri" pitchFamily="34" charset="0"/>
                <a:ea typeface="Calibri" pitchFamily="34" charset="0"/>
                <a:cs typeface="Times New Roman" pitchFamily="18" charset="0"/>
              </a:rPr>
              <a:t>Πηγή: </a:t>
            </a:r>
            <a:r>
              <a:rPr lang="en-US" sz="1300" i="1" dirty="0">
                <a:latin typeface="Calibri" pitchFamily="34" charset="0"/>
                <a:ea typeface="Calibri" pitchFamily="34" charset="0"/>
                <a:cs typeface="Times New Roman" pitchFamily="18" charset="0"/>
              </a:rPr>
              <a:t>World Population Prospects 2013</a:t>
            </a:r>
          </a:p>
        </p:txBody>
      </p:sp>
      <p:pic>
        <p:nvPicPr>
          <p:cNvPr id="108546" name="Picture 2"/>
          <p:cNvPicPr>
            <a:picLocks noChangeAspect="1" noChangeArrowheads="1"/>
          </p:cNvPicPr>
          <p:nvPr/>
        </p:nvPicPr>
        <p:blipFill>
          <a:blip r:embed="rId2" cstate="email"/>
          <a:srcRect/>
          <a:stretch>
            <a:fillRect/>
          </a:stretch>
        </p:blipFill>
        <p:spPr bwMode="auto">
          <a:xfrm>
            <a:off x="251520" y="1412776"/>
            <a:ext cx="8588375" cy="4914900"/>
          </a:xfrm>
          <a:prstGeom prst="rect">
            <a:avLst/>
          </a:prstGeom>
          <a:noFill/>
          <a:ln w="9525">
            <a:noFill/>
            <a:miter lim="800000"/>
            <a:headEnd/>
            <a:tailEnd/>
          </a:ln>
          <a:effectLst/>
        </p:spPr>
      </p:pic>
    </p:spTree>
    <p:extLst>
      <p:ext uri="{BB962C8B-B14F-4D97-AF65-F5344CB8AC3E}">
        <p14:creationId xmlns:p14="http://schemas.microsoft.com/office/powerpoint/2010/main" val="28016540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366443269"/>
              </p:ext>
            </p:extLst>
          </p:nvPr>
        </p:nvGraphicFramePr>
        <p:xfrm>
          <a:off x="467544" y="1556791"/>
          <a:ext cx="6984776" cy="2419893"/>
        </p:xfrm>
        <a:graphic>
          <a:graphicData uri="http://schemas.openxmlformats.org/drawingml/2006/table">
            <a:tbl>
              <a:tblPr firstRow="1" firstCol="1" bandRow="1">
                <a:tableStyleId>{5C22544A-7EE6-4342-B048-85BDC9FD1C3A}</a:tableStyleId>
              </a:tblPr>
              <a:tblGrid>
                <a:gridCol w="6984776"/>
              </a:tblGrid>
              <a:tr h="352826">
                <a:tc>
                  <a:txBody>
                    <a:bodyPr/>
                    <a:lstStyle/>
                    <a:p>
                      <a:pPr algn="ctr">
                        <a:lnSpc>
                          <a:spcPct val="107000"/>
                        </a:lnSpc>
                        <a:spcAft>
                          <a:spcPts val="0"/>
                        </a:spcAft>
                      </a:pPr>
                      <a:r>
                        <a:rPr lang="el-GR" sz="1000" dirty="0">
                          <a:effectLst/>
                        </a:rPr>
                        <a:t>           </a:t>
                      </a:r>
                      <a:r>
                        <a:rPr lang="el-GR" sz="1000" dirty="0">
                          <a:solidFill>
                            <a:schemeClr val="tx1"/>
                          </a:solidFill>
                          <a:effectLst/>
                        </a:rPr>
                        <a:t>Γυμνάσιο/Λύκειο ηλικίες: 13-1</a:t>
                      </a:r>
                      <a:r>
                        <a:rPr lang="en-US" sz="1000" dirty="0">
                          <a:solidFill>
                            <a:schemeClr val="tx1"/>
                          </a:solidFill>
                          <a:effectLst/>
                        </a:rPr>
                        <a:t>8</a:t>
                      </a:r>
                      <a:endParaRPr lang="el-GR" sz="1100" dirty="0">
                        <a:solidFill>
                          <a:schemeClr val="tx1"/>
                        </a:solidFill>
                        <a:effectLst/>
                        <a:latin typeface="Calibri"/>
                        <a:ea typeface="Calibri"/>
                        <a:cs typeface="Times New Roman"/>
                      </a:endParaRPr>
                    </a:p>
                  </a:txBody>
                  <a:tcPr marL="68580" marR="68580" marT="0" marB="0" anchor="b">
                    <a:solidFill>
                      <a:schemeClr val="accent4">
                        <a:lumMod val="60000"/>
                        <a:lumOff val="40000"/>
                      </a:schemeClr>
                    </a:solidFill>
                  </a:tcPr>
                </a:tc>
              </a:tr>
              <a:tr h="302937">
                <a:tc>
                  <a:txBody>
                    <a:bodyPr/>
                    <a:lstStyle/>
                    <a:p>
                      <a:pPr>
                        <a:lnSpc>
                          <a:spcPct val="107000"/>
                        </a:lnSpc>
                        <a:spcAft>
                          <a:spcPts val="0"/>
                        </a:spcAft>
                      </a:pPr>
                      <a:r>
                        <a:rPr lang="el-GR" sz="1000" dirty="0">
                          <a:solidFill>
                            <a:schemeClr val="tx1"/>
                          </a:solidFill>
                          <a:effectLst/>
                        </a:rPr>
                        <a:t>Επαγγελματικός προσανατολισμός</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352826">
                <a:tc>
                  <a:txBody>
                    <a:bodyPr/>
                    <a:lstStyle/>
                    <a:p>
                      <a:pPr>
                        <a:lnSpc>
                          <a:spcPct val="107000"/>
                        </a:lnSpc>
                        <a:spcAft>
                          <a:spcPts val="0"/>
                        </a:spcAft>
                      </a:pPr>
                      <a:r>
                        <a:rPr lang="el-GR" sz="1000" dirty="0">
                          <a:solidFill>
                            <a:schemeClr val="tx1"/>
                          </a:solidFill>
                          <a:effectLst/>
                        </a:rPr>
                        <a:t>Ανάπτυξη δεξιοτήτων προσαρμοσμένων στις μελλοντικές ανάγκες και συνθήκες </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352826">
                <a:tc>
                  <a:txBody>
                    <a:bodyPr/>
                    <a:lstStyle/>
                    <a:p>
                      <a:pPr>
                        <a:lnSpc>
                          <a:spcPct val="107000"/>
                        </a:lnSpc>
                        <a:spcAft>
                          <a:spcPts val="0"/>
                        </a:spcAft>
                      </a:pPr>
                      <a:r>
                        <a:rPr lang="el-GR" sz="1000" dirty="0">
                          <a:solidFill>
                            <a:schemeClr val="tx1"/>
                          </a:solidFill>
                          <a:effectLst/>
                        </a:rPr>
                        <a:t>Αξιολόγηση μελλοντικών αναγκών και απαιτούμενων πόρων</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352826">
                <a:tc>
                  <a:txBody>
                    <a:bodyPr/>
                    <a:lstStyle/>
                    <a:p>
                      <a:pPr>
                        <a:lnSpc>
                          <a:spcPct val="107000"/>
                        </a:lnSpc>
                        <a:spcAft>
                          <a:spcPts val="0"/>
                        </a:spcAft>
                      </a:pPr>
                      <a:r>
                        <a:rPr lang="el-GR" sz="1000" dirty="0">
                          <a:solidFill>
                            <a:schemeClr val="tx1"/>
                          </a:solidFill>
                          <a:effectLst/>
                        </a:rPr>
                        <a:t>Κατανόηση των δράσεων αποταμίευση/κατανάλωση/επένδυση/ εθελοντισμός </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352826">
                <a:tc>
                  <a:txBody>
                    <a:bodyPr/>
                    <a:lstStyle/>
                    <a:p>
                      <a:pPr>
                        <a:lnSpc>
                          <a:spcPct val="107000"/>
                        </a:lnSpc>
                        <a:spcAft>
                          <a:spcPts val="0"/>
                        </a:spcAft>
                      </a:pPr>
                      <a:r>
                        <a:rPr lang="el-GR" sz="1000" dirty="0">
                          <a:solidFill>
                            <a:schemeClr val="tx1"/>
                          </a:solidFill>
                          <a:effectLst/>
                        </a:rPr>
                        <a:t>Ανάπτυξη προσωπικού συστήματος καταγραφής οικονομικών αρχείων και στόχων </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352826">
                <a:tc>
                  <a:txBody>
                    <a:bodyPr/>
                    <a:lstStyle/>
                    <a:p>
                      <a:pPr>
                        <a:lnSpc>
                          <a:spcPct val="107000"/>
                        </a:lnSpc>
                        <a:spcAft>
                          <a:spcPts val="0"/>
                        </a:spcAft>
                      </a:pPr>
                      <a:r>
                        <a:rPr lang="el-GR" sz="1000" dirty="0">
                          <a:solidFill>
                            <a:schemeClr val="tx1"/>
                          </a:solidFill>
                          <a:effectLst/>
                        </a:rPr>
                        <a:t> Γνώση –εξερεύνηση του χρηματοπιστωτικού  συστήματος, τραπεζών κτλ</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bl>
          </a:graphicData>
        </a:graphic>
      </p:graphicFrame>
      <p:sp>
        <p:nvSpPr>
          <p:cNvPr id="5" name="Rectangle 4"/>
          <p:cNvSpPr/>
          <p:nvPr/>
        </p:nvSpPr>
        <p:spPr>
          <a:xfrm>
            <a:off x="1043608" y="116632"/>
            <a:ext cx="4572000" cy="1200329"/>
          </a:xfrm>
          <a:prstGeom prst="rect">
            <a:avLst/>
          </a:prstGeom>
        </p:spPr>
        <p:txBody>
          <a:bodyPr>
            <a:spAutoFit/>
          </a:bodyPr>
          <a:lstStyle/>
          <a:p>
            <a:r>
              <a:rPr lang="el-GR" dirty="0"/>
              <a:t> Πίνακας 1 </a:t>
            </a:r>
          </a:p>
          <a:p>
            <a:r>
              <a:rPr lang="el-GR" dirty="0"/>
              <a:t>Καταγραφή των διαχρονικών χρηματοοικονομικών αναγκών των πολιτών  στην Ελλάδα και ορισμένων δράσεων .</a:t>
            </a:r>
          </a:p>
        </p:txBody>
      </p:sp>
      <p:sp>
        <p:nvSpPr>
          <p:cNvPr id="6" name="Rectangle 5"/>
          <p:cNvSpPr/>
          <p:nvPr/>
        </p:nvSpPr>
        <p:spPr>
          <a:xfrm>
            <a:off x="467544" y="1556792"/>
            <a:ext cx="6984776" cy="244827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aphicFrame>
        <p:nvGraphicFramePr>
          <p:cNvPr id="7" name="Table 6"/>
          <p:cNvGraphicFramePr>
            <a:graphicFrameLocks noGrp="1"/>
          </p:cNvGraphicFramePr>
          <p:nvPr>
            <p:extLst>
              <p:ext uri="{D42A27DB-BD31-4B8C-83A1-F6EECF244321}">
                <p14:modId xmlns:p14="http://schemas.microsoft.com/office/powerpoint/2010/main" val="1359574568"/>
              </p:ext>
            </p:extLst>
          </p:nvPr>
        </p:nvGraphicFramePr>
        <p:xfrm>
          <a:off x="467544" y="4005064"/>
          <a:ext cx="6994525" cy="2520280"/>
        </p:xfrm>
        <a:graphic>
          <a:graphicData uri="http://schemas.openxmlformats.org/drawingml/2006/table">
            <a:tbl>
              <a:tblPr firstRow="1" firstCol="1" bandRow="1">
                <a:tableStyleId>{5C22544A-7EE6-4342-B048-85BDC9FD1C3A}</a:tableStyleId>
              </a:tblPr>
              <a:tblGrid>
                <a:gridCol w="6994525"/>
              </a:tblGrid>
              <a:tr h="262044">
                <a:tc>
                  <a:txBody>
                    <a:bodyPr/>
                    <a:lstStyle/>
                    <a:p>
                      <a:pPr algn="ctr">
                        <a:lnSpc>
                          <a:spcPct val="107000"/>
                        </a:lnSpc>
                        <a:spcAft>
                          <a:spcPts val="0"/>
                        </a:spcAft>
                      </a:pPr>
                      <a:r>
                        <a:rPr lang="el-GR" sz="1000" dirty="0">
                          <a:solidFill>
                            <a:schemeClr val="tx1"/>
                          </a:solidFill>
                          <a:effectLst/>
                        </a:rPr>
                        <a:t>   Νέοι ενήλικες ηλικίες: 18-24 </a:t>
                      </a:r>
                      <a:endParaRPr lang="el-GR" sz="1100" dirty="0">
                        <a:solidFill>
                          <a:schemeClr val="tx1"/>
                        </a:solidFill>
                        <a:effectLst/>
                        <a:latin typeface="Calibri"/>
                        <a:ea typeface="Calibri"/>
                        <a:cs typeface="Times New Roman"/>
                      </a:endParaRPr>
                    </a:p>
                  </a:txBody>
                  <a:tcPr marL="68580" marR="68580" marT="0" marB="0" anchor="b">
                    <a:solidFill>
                      <a:schemeClr val="accent4">
                        <a:lumMod val="60000"/>
                        <a:lumOff val="40000"/>
                      </a:schemeClr>
                    </a:solidFill>
                  </a:tcPr>
                </a:tc>
              </a:tr>
              <a:tr h="423928">
                <a:tc>
                  <a:txBody>
                    <a:bodyPr/>
                    <a:lstStyle/>
                    <a:p>
                      <a:pPr>
                        <a:lnSpc>
                          <a:spcPct val="107000"/>
                        </a:lnSpc>
                        <a:spcAft>
                          <a:spcPts val="0"/>
                        </a:spcAft>
                      </a:pPr>
                      <a:r>
                        <a:rPr lang="el-GR" sz="1000" dirty="0">
                          <a:solidFill>
                            <a:schemeClr val="tx1"/>
                          </a:solidFill>
                          <a:effectLst/>
                        </a:rPr>
                        <a:t>Εκπαίδευση :  επαγγελματική σχολή, ΑΤΕΙ, ΑΕΙ</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62044">
                <a:tc>
                  <a:txBody>
                    <a:bodyPr/>
                    <a:lstStyle/>
                    <a:p>
                      <a:pPr>
                        <a:lnSpc>
                          <a:spcPct val="107000"/>
                        </a:lnSpc>
                        <a:spcAft>
                          <a:spcPts val="0"/>
                        </a:spcAft>
                      </a:pPr>
                      <a:r>
                        <a:rPr lang="el-GR" sz="1000" dirty="0">
                          <a:solidFill>
                            <a:schemeClr val="tx1"/>
                          </a:solidFill>
                          <a:effectLst/>
                        </a:rPr>
                        <a:t>Προετοιμασία  για επαγγελματική καριέρα</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62044">
                <a:tc>
                  <a:txBody>
                    <a:bodyPr/>
                    <a:lstStyle/>
                    <a:p>
                      <a:pPr>
                        <a:lnSpc>
                          <a:spcPct val="107000"/>
                        </a:lnSpc>
                        <a:spcAft>
                          <a:spcPts val="0"/>
                        </a:spcAft>
                      </a:pPr>
                      <a:r>
                        <a:rPr lang="el-GR" sz="1000" dirty="0">
                          <a:solidFill>
                            <a:schemeClr val="tx1"/>
                          </a:solidFill>
                          <a:effectLst/>
                        </a:rPr>
                        <a:t>Εδραίωση της  αποταμίευσης </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62044">
                <a:tc>
                  <a:txBody>
                    <a:bodyPr/>
                    <a:lstStyle/>
                    <a:p>
                      <a:pPr>
                        <a:lnSpc>
                          <a:spcPct val="107000"/>
                        </a:lnSpc>
                        <a:spcAft>
                          <a:spcPts val="0"/>
                        </a:spcAft>
                      </a:pPr>
                      <a:r>
                        <a:rPr lang="el-GR" sz="1000" dirty="0">
                          <a:solidFill>
                            <a:schemeClr val="tx1"/>
                          </a:solidFill>
                          <a:effectLst/>
                        </a:rPr>
                        <a:t>Εδραίωση   της  προσωπικής και χρηματοοικονομικής ανεξαρτησίας</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62044">
                <a:tc>
                  <a:txBody>
                    <a:bodyPr/>
                    <a:lstStyle/>
                    <a:p>
                      <a:pPr>
                        <a:lnSpc>
                          <a:spcPct val="107000"/>
                        </a:lnSpc>
                        <a:spcAft>
                          <a:spcPts val="0"/>
                        </a:spcAft>
                      </a:pPr>
                      <a:r>
                        <a:rPr lang="el-GR" sz="1000" dirty="0">
                          <a:solidFill>
                            <a:schemeClr val="tx1"/>
                          </a:solidFill>
                          <a:effectLst/>
                        </a:rPr>
                        <a:t>Κατανόηση  της αναγκαιότητας της    ασφάλισης .Προσδιορισμός  των  ασφαλιστικών αναγκών </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62044">
                <a:tc>
                  <a:txBody>
                    <a:bodyPr/>
                    <a:lstStyle/>
                    <a:p>
                      <a:pPr>
                        <a:lnSpc>
                          <a:spcPct val="107000"/>
                        </a:lnSpc>
                        <a:spcAft>
                          <a:spcPts val="0"/>
                        </a:spcAft>
                      </a:pPr>
                      <a:r>
                        <a:rPr lang="el-GR" sz="1000" dirty="0">
                          <a:solidFill>
                            <a:schemeClr val="tx1"/>
                          </a:solidFill>
                          <a:effectLst/>
                        </a:rPr>
                        <a:t>Λελογισμένη χρήση των πιστωτικών καρτών </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62044">
                <a:tc>
                  <a:txBody>
                    <a:bodyPr/>
                    <a:lstStyle/>
                    <a:p>
                      <a:pPr>
                        <a:lnSpc>
                          <a:spcPct val="107000"/>
                        </a:lnSpc>
                        <a:spcAft>
                          <a:spcPts val="0"/>
                        </a:spcAft>
                      </a:pPr>
                      <a:r>
                        <a:rPr lang="el-GR" sz="1000" dirty="0">
                          <a:solidFill>
                            <a:schemeClr val="tx1"/>
                          </a:solidFill>
                          <a:effectLst/>
                        </a:rPr>
                        <a:t>Δημιουργία  υγιών καταναλωτικών προτύπων</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62044">
                <a:tc>
                  <a:txBody>
                    <a:bodyPr/>
                    <a:lstStyle/>
                    <a:p>
                      <a:pPr>
                        <a:lnSpc>
                          <a:spcPct val="107000"/>
                        </a:lnSpc>
                        <a:spcAft>
                          <a:spcPts val="0"/>
                        </a:spcAft>
                      </a:pPr>
                      <a:r>
                        <a:rPr lang="el-GR" sz="1000" dirty="0">
                          <a:solidFill>
                            <a:schemeClr val="tx1"/>
                          </a:solidFill>
                          <a:effectLst/>
                        </a:rPr>
                        <a:t>Ανάπτυξη προσωπικής χρηματοοικονομικής ταυτότητας</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bl>
          </a:graphicData>
        </a:graphic>
      </p:graphicFrame>
      <p:sp>
        <p:nvSpPr>
          <p:cNvPr id="8" name="Rectangle 7"/>
          <p:cNvSpPr/>
          <p:nvPr/>
        </p:nvSpPr>
        <p:spPr>
          <a:xfrm>
            <a:off x="467544" y="4005064"/>
            <a:ext cx="6984776" cy="27363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22120616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246596444"/>
              </p:ext>
            </p:extLst>
          </p:nvPr>
        </p:nvGraphicFramePr>
        <p:xfrm>
          <a:off x="323528" y="260648"/>
          <a:ext cx="6994525" cy="2736300"/>
        </p:xfrm>
        <a:graphic>
          <a:graphicData uri="http://schemas.openxmlformats.org/drawingml/2006/table">
            <a:tbl>
              <a:tblPr firstRow="1" firstCol="1" bandRow="1">
                <a:tableStyleId>{5C22544A-7EE6-4342-B048-85BDC9FD1C3A}</a:tableStyleId>
              </a:tblPr>
              <a:tblGrid>
                <a:gridCol w="6994525"/>
              </a:tblGrid>
              <a:tr h="273630">
                <a:tc>
                  <a:txBody>
                    <a:bodyPr/>
                    <a:lstStyle/>
                    <a:p>
                      <a:pPr algn="ctr">
                        <a:lnSpc>
                          <a:spcPct val="107000"/>
                        </a:lnSpc>
                        <a:spcAft>
                          <a:spcPts val="0"/>
                        </a:spcAft>
                      </a:pPr>
                      <a:r>
                        <a:rPr lang="el-GR" sz="1000" dirty="0">
                          <a:solidFill>
                            <a:schemeClr val="tx1"/>
                          </a:solidFill>
                          <a:effectLst/>
                        </a:rPr>
                        <a:t>                   Ενήλικες με ή χωρίς παιδιά ηλικίες: 25-34 </a:t>
                      </a:r>
                      <a:endParaRPr lang="el-GR" sz="1100" dirty="0">
                        <a:solidFill>
                          <a:schemeClr val="tx1"/>
                        </a:solidFill>
                        <a:effectLst/>
                        <a:latin typeface="Calibri"/>
                        <a:ea typeface="Calibri"/>
                        <a:cs typeface="Times New Roman"/>
                      </a:endParaRPr>
                    </a:p>
                  </a:txBody>
                  <a:tcPr marL="68580" marR="68580" marT="0" marB="0" anchor="b">
                    <a:solidFill>
                      <a:schemeClr val="accent4">
                        <a:lumMod val="60000"/>
                        <a:lumOff val="40000"/>
                      </a:schemeClr>
                    </a:solidFill>
                  </a:tcPr>
                </a:tc>
              </a:tr>
              <a:tr h="273630">
                <a:tc>
                  <a:txBody>
                    <a:bodyPr/>
                    <a:lstStyle/>
                    <a:p>
                      <a:pPr>
                        <a:lnSpc>
                          <a:spcPct val="107000"/>
                        </a:lnSpc>
                        <a:spcAft>
                          <a:spcPts val="0"/>
                        </a:spcAft>
                      </a:pPr>
                      <a:r>
                        <a:rPr lang="el-GR" sz="1000" dirty="0">
                          <a:solidFill>
                            <a:schemeClr val="tx1"/>
                          </a:solidFill>
                          <a:effectLst/>
                        </a:rPr>
                        <a:t>Έναρξη επαγγέλματος</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73630">
                <a:tc>
                  <a:txBody>
                    <a:bodyPr/>
                    <a:lstStyle/>
                    <a:p>
                      <a:pPr>
                        <a:lnSpc>
                          <a:spcPct val="107000"/>
                        </a:lnSpc>
                        <a:spcAft>
                          <a:spcPts val="0"/>
                        </a:spcAft>
                      </a:pPr>
                      <a:r>
                        <a:rPr lang="el-GR" sz="1000" dirty="0">
                          <a:solidFill>
                            <a:schemeClr val="tx1"/>
                          </a:solidFill>
                          <a:effectLst/>
                        </a:rPr>
                        <a:t>Γάμος στην συνέχεια </a:t>
                      </a:r>
                      <a:r>
                        <a:rPr lang="el-GR" sz="1000" dirty="0" smtClean="0">
                          <a:solidFill>
                            <a:schemeClr val="tx1"/>
                          </a:solidFill>
                          <a:effectLst/>
                        </a:rPr>
                        <a:t>παιδί/ά </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73630">
                <a:tc>
                  <a:txBody>
                    <a:bodyPr/>
                    <a:lstStyle/>
                    <a:p>
                      <a:pPr>
                        <a:lnSpc>
                          <a:spcPct val="107000"/>
                        </a:lnSpc>
                        <a:spcAft>
                          <a:spcPts val="0"/>
                        </a:spcAft>
                      </a:pPr>
                      <a:r>
                        <a:rPr lang="el-GR" sz="1000" dirty="0">
                          <a:solidFill>
                            <a:schemeClr val="tx1"/>
                          </a:solidFill>
                          <a:effectLst/>
                        </a:rPr>
                        <a:t>Ανατροφή παιδιών </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73630">
                <a:tc>
                  <a:txBody>
                    <a:bodyPr/>
                    <a:lstStyle/>
                    <a:p>
                      <a:pPr>
                        <a:lnSpc>
                          <a:spcPct val="107000"/>
                        </a:lnSpc>
                        <a:spcAft>
                          <a:spcPts val="0"/>
                        </a:spcAft>
                      </a:pPr>
                      <a:r>
                        <a:rPr lang="el-GR" sz="1000" dirty="0">
                          <a:solidFill>
                            <a:schemeClr val="tx1"/>
                          </a:solidFill>
                          <a:effectLst/>
                        </a:rPr>
                        <a:t>Δημιουργία κεφαλαίου εκτάκτων αναγκών (</a:t>
                      </a:r>
                      <a:r>
                        <a:rPr lang="en-US" sz="1000" dirty="0">
                          <a:solidFill>
                            <a:schemeClr val="tx1"/>
                          </a:solidFill>
                          <a:effectLst/>
                        </a:rPr>
                        <a:t>emergency fund</a:t>
                      </a:r>
                      <a:r>
                        <a:rPr lang="el-GR" sz="1000" dirty="0">
                          <a:solidFill>
                            <a:schemeClr val="tx1"/>
                          </a:solidFill>
                          <a:effectLst/>
                        </a:rPr>
                        <a:t> )  </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73630">
                <a:tc>
                  <a:txBody>
                    <a:bodyPr/>
                    <a:lstStyle/>
                    <a:p>
                      <a:pPr>
                        <a:lnSpc>
                          <a:spcPct val="107000"/>
                        </a:lnSpc>
                        <a:spcAft>
                          <a:spcPts val="0"/>
                        </a:spcAft>
                      </a:pPr>
                      <a:r>
                        <a:rPr lang="el-GR" sz="1000" dirty="0">
                          <a:solidFill>
                            <a:schemeClr val="tx1"/>
                          </a:solidFill>
                          <a:effectLst/>
                        </a:rPr>
                        <a:t>Επέκταση επαγγελματικών στόχων</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73630">
                <a:tc>
                  <a:txBody>
                    <a:bodyPr/>
                    <a:lstStyle/>
                    <a:p>
                      <a:pPr>
                        <a:lnSpc>
                          <a:spcPct val="107000"/>
                        </a:lnSpc>
                        <a:spcAft>
                          <a:spcPts val="0"/>
                        </a:spcAft>
                      </a:pPr>
                      <a:r>
                        <a:rPr lang="el-GR" sz="1000" dirty="0">
                          <a:solidFill>
                            <a:schemeClr val="tx1"/>
                          </a:solidFill>
                          <a:effectLst/>
                        </a:rPr>
                        <a:t>Διαχείριση αυξημένης ανάγκης για προσεκτική και στοχευόμενη πίστωση-προσεκτική χρήση των πιστωτικών καρτών</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73630">
                <a:tc>
                  <a:txBody>
                    <a:bodyPr/>
                    <a:lstStyle/>
                    <a:p>
                      <a:pPr>
                        <a:lnSpc>
                          <a:spcPct val="107000"/>
                        </a:lnSpc>
                        <a:spcAft>
                          <a:spcPts val="0"/>
                        </a:spcAft>
                      </a:pPr>
                      <a:r>
                        <a:rPr lang="el-GR" sz="1000" dirty="0">
                          <a:solidFill>
                            <a:schemeClr val="tx1"/>
                          </a:solidFill>
                          <a:effectLst/>
                        </a:rPr>
                        <a:t>Αρχικές επενδύσεις σε διεθνικά μετοχικά αμοιβαία κεφάλαια αναδυομένων αγορών με διαχρονική κατανομή των κεφαλαίων</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73630">
                <a:tc>
                  <a:txBody>
                    <a:bodyPr/>
                    <a:lstStyle/>
                    <a:p>
                      <a:pPr>
                        <a:lnSpc>
                          <a:spcPct val="107000"/>
                        </a:lnSpc>
                        <a:spcAft>
                          <a:spcPts val="0"/>
                        </a:spcAft>
                      </a:pPr>
                      <a:r>
                        <a:rPr lang="el-GR" sz="1000" dirty="0">
                          <a:solidFill>
                            <a:schemeClr val="tx1"/>
                          </a:solidFill>
                          <a:effectLst/>
                        </a:rPr>
                        <a:t>Αγορά μικρής κατοικίας με χρηματοδότηση το 65% </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273630">
                <a:tc>
                  <a:txBody>
                    <a:bodyPr/>
                    <a:lstStyle/>
                    <a:p>
                      <a:pPr>
                        <a:lnSpc>
                          <a:spcPct val="107000"/>
                        </a:lnSpc>
                        <a:spcAft>
                          <a:spcPts val="0"/>
                        </a:spcAft>
                      </a:pPr>
                      <a:r>
                        <a:rPr lang="el-GR" sz="1000" dirty="0">
                          <a:solidFill>
                            <a:schemeClr val="tx1"/>
                          </a:solidFill>
                          <a:effectLst/>
                        </a:rPr>
                        <a:t> Μεταπτυχιακά διπλώματα (</a:t>
                      </a:r>
                      <a:r>
                        <a:rPr lang="en-US" sz="1000" dirty="0">
                          <a:solidFill>
                            <a:schemeClr val="tx1"/>
                          </a:solidFill>
                          <a:effectLst/>
                        </a:rPr>
                        <a:t>Masters</a:t>
                      </a:r>
                      <a:r>
                        <a:rPr lang="el-GR" sz="1000" dirty="0">
                          <a:solidFill>
                            <a:schemeClr val="tx1"/>
                          </a:solidFill>
                          <a:effectLst/>
                        </a:rPr>
                        <a:t> ) ή εξειδικευμένα επαγγελματικά διπλώματα</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bl>
          </a:graphicData>
        </a:graphic>
      </p:graphicFrame>
      <p:sp>
        <p:nvSpPr>
          <p:cNvPr id="5" name="Rectangle 4"/>
          <p:cNvSpPr/>
          <p:nvPr/>
        </p:nvSpPr>
        <p:spPr>
          <a:xfrm>
            <a:off x="323528" y="260648"/>
            <a:ext cx="6984776" cy="28803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aphicFrame>
        <p:nvGraphicFramePr>
          <p:cNvPr id="8" name="Table 7"/>
          <p:cNvGraphicFramePr>
            <a:graphicFrameLocks noGrp="1"/>
          </p:cNvGraphicFramePr>
          <p:nvPr>
            <p:extLst>
              <p:ext uri="{D42A27DB-BD31-4B8C-83A1-F6EECF244321}">
                <p14:modId xmlns:p14="http://schemas.microsoft.com/office/powerpoint/2010/main" val="4013678005"/>
              </p:ext>
            </p:extLst>
          </p:nvPr>
        </p:nvGraphicFramePr>
        <p:xfrm>
          <a:off x="324039" y="3128570"/>
          <a:ext cx="6994525" cy="2028624"/>
        </p:xfrm>
        <a:graphic>
          <a:graphicData uri="http://schemas.openxmlformats.org/drawingml/2006/table">
            <a:tbl>
              <a:tblPr firstRow="1" firstCol="1" bandRow="1">
                <a:tableStyleId>{5C22544A-7EE6-4342-B048-85BDC9FD1C3A}</a:tableStyleId>
              </a:tblPr>
              <a:tblGrid>
                <a:gridCol w="6994525"/>
              </a:tblGrid>
              <a:tr h="338104">
                <a:tc>
                  <a:txBody>
                    <a:bodyPr/>
                    <a:lstStyle/>
                    <a:p>
                      <a:pPr>
                        <a:lnSpc>
                          <a:spcPct val="107000"/>
                        </a:lnSpc>
                        <a:spcAft>
                          <a:spcPts val="0"/>
                        </a:spcAft>
                      </a:pPr>
                      <a:r>
                        <a:rPr lang="el-GR" sz="1000" dirty="0">
                          <a:solidFill>
                            <a:schemeClr val="tx1"/>
                          </a:solidFill>
                          <a:effectLst/>
                        </a:rPr>
                        <a:t>                                                         Εργαζόμενοι γονείς ή ενήλικες ηλικίες: 35-44 </a:t>
                      </a:r>
                      <a:endParaRPr lang="el-GR" sz="1100" dirty="0">
                        <a:solidFill>
                          <a:schemeClr val="tx1"/>
                        </a:solidFill>
                        <a:effectLst/>
                        <a:latin typeface="Calibri"/>
                        <a:ea typeface="Calibri"/>
                        <a:cs typeface="Times New Roman"/>
                      </a:endParaRPr>
                    </a:p>
                  </a:txBody>
                  <a:tcPr marL="68580" marR="68580" marT="0" marB="0" anchor="b">
                    <a:solidFill>
                      <a:schemeClr val="accent4">
                        <a:lumMod val="60000"/>
                        <a:lumOff val="40000"/>
                      </a:schemeClr>
                    </a:solidFill>
                  </a:tcPr>
                </a:tc>
              </a:tr>
              <a:tr h="338104">
                <a:tc>
                  <a:txBody>
                    <a:bodyPr/>
                    <a:lstStyle/>
                    <a:p>
                      <a:pPr>
                        <a:lnSpc>
                          <a:spcPct val="107000"/>
                        </a:lnSpc>
                        <a:spcAft>
                          <a:spcPts val="0"/>
                        </a:spcAft>
                      </a:pPr>
                      <a:r>
                        <a:rPr lang="el-GR" sz="1000" dirty="0">
                          <a:solidFill>
                            <a:schemeClr val="tx1"/>
                          </a:solidFill>
                          <a:effectLst/>
                        </a:rPr>
                        <a:t>Αναβάθμιση ή αλλαγή του επαγγέλματος </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338104">
                <a:tc>
                  <a:txBody>
                    <a:bodyPr/>
                    <a:lstStyle/>
                    <a:p>
                      <a:pPr>
                        <a:lnSpc>
                          <a:spcPct val="107000"/>
                        </a:lnSpc>
                        <a:spcAft>
                          <a:spcPts val="0"/>
                        </a:spcAft>
                      </a:pPr>
                      <a:r>
                        <a:rPr lang="el-GR" sz="1000" dirty="0">
                          <a:solidFill>
                            <a:schemeClr val="tx1"/>
                          </a:solidFill>
                          <a:effectLst/>
                        </a:rPr>
                        <a:t>Ασφάλιση  της "κεφαλής του σπιτιού"</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338104">
                <a:tc>
                  <a:txBody>
                    <a:bodyPr/>
                    <a:lstStyle/>
                    <a:p>
                      <a:pPr>
                        <a:lnSpc>
                          <a:spcPct val="107000"/>
                        </a:lnSpc>
                        <a:spcAft>
                          <a:spcPts val="0"/>
                        </a:spcAft>
                      </a:pPr>
                      <a:r>
                        <a:rPr lang="el-GR" sz="1000" dirty="0">
                          <a:solidFill>
                            <a:schemeClr val="tx1"/>
                          </a:solidFill>
                          <a:effectLst/>
                        </a:rPr>
                        <a:t>Αγορά μεγαλύτερης κατοικίας με χρηματοδότηση το 63-67% του ποσού </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338104">
                <a:tc>
                  <a:txBody>
                    <a:bodyPr/>
                    <a:lstStyle/>
                    <a:p>
                      <a:pPr>
                        <a:lnSpc>
                          <a:spcPct val="107000"/>
                        </a:lnSpc>
                        <a:spcAft>
                          <a:spcPts val="0"/>
                        </a:spcAft>
                      </a:pPr>
                      <a:r>
                        <a:rPr lang="el-GR" sz="1000" dirty="0">
                          <a:solidFill>
                            <a:schemeClr val="tx1"/>
                          </a:solidFill>
                          <a:effectLst/>
                        </a:rPr>
                        <a:t>Δημιουργία κεφαλαίου για πιθανά  δίδακτρα ή άλλα έξοδα για τα παιδιά στα σχολεία ή στα πανεπιστήμια </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r h="338104">
                <a:tc>
                  <a:txBody>
                    <a:bodyPr/>
                    <a:lstStyle/>
                    <a:p>
                      <a:pPr>
                        <a:lnSpc>
                          <a:spcPct val="107000"/>
                        </a:lnSpc>
                        <a:spcAft>
                          <a:spcPts val="0"/>
                        </a:spcAft>
                      </a:pPr>
                      <a:r>
                        <a:rPr lang="el-GR" sz="1000" dirty="0">
                          <a:solidFill>
                            <a:schemeClr val="tx1"/>
                          </a:solidFill>
                          <a:effectLst/>
                        </a:rPr>
                        <a:t>Ανάγκη για υψηλότερο εισόδημα λόγω αυξημένων αναγκών</a:t>
                      </a:r>
                      <a:endParaRPr lang="el-GR" sz="1100" dirty="0">
                        <a:solidFill>
                          <a:schemeClr val="tx1"/>
                        </a:solidFill>
                        <a:effectLst/>
                        <a:latin typeface="Calibri"/>
                        <a:ea typeface="Calibri"/>
                        <a:cs typeface="Times New Roman"/>
                      </a:endParaRPr>
                    </a:p>
                  </a:txBody>
                  <a:tcPr marL="68580" marR="68580" marT="0" marB="0" anchor="b">
                    <a:solidFill>
                      <a:schemeClr val="bg1"/>
                    </a:solidFill>
                  </a:tcPr>
                </a:tc>
              </a:tr>
            </a:tbl>
          </a:graphicData>
        </a:graphic>
      </p:graphicFrame>
      <p:sp>
        <p:nvSpPr>
          <p:cNvPr id="9" name="Rectangle 8"/>
          <p:cNvSpPr/>
          <p:nvPr/>
        </p:nvSpPr>
        <p:spPr>
          <a:xfrm>
            <a:off x="324039" y="3140968"/>
            <a:ext cx="6984776" cy="223224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aphicFrame>
        <p:nvGraphicFramePr>
          <p:cNvPr id="10" name="Table 9"/>
          <p:cNvGraphicFramePr>
            <a:graphicFrameLocks noGrp="1"/>
          </p:cNvGraphicFramePr>
          <p:nvPr>
            <p:extLst>
              <p:ext uri="{D42A27DB-BD31-4B8C-83A1-F6EECF244321}">
                <p14:modId xmlns:p14="http://schemas.microsoft.com/office/powerpoint/2010/main" val="1061648320"/>
              </p:ext>
            </p:extLst>
          </p:nvPr>
        </p:nvGraphicFramePr>
        <p:xfrm>
          <a:off x="313779" y="5373214"/>
          <a:ext cx="6994525" cy="1262324"/>
        </p:xfrm>
        <a:graphic>
          <a:graphicData uri="http://schemas.openxmlformats.org/drawingml/2006/table">
            <a:tbl>
              <a:tblPr firstRow="1" firstCol="1" bandRow="1">
                <a:tableStyleId>{5C22544A-7EE6-4342-B048-85BDC9FD1C3A}</a:tableStyleId>
              </a:tblPr>
              <a:tblGrid>
                <a:gridCol w="6994525"/>
              </a:tblGrid>
              <a:tr h="281364">
                <a:tc>
                  <a:txBody>
                    <a:bodyPr/>
                    <a:lstStyle/>
                    <a:p>
                      <a:pPr>
                        <a:lnSpc>
                          <a:spcPct val="107000"/>
                        </a:lnSpc>
                        <a:spcAft>
                          <a:spcPts val="0"/>
                        </a:spcAft>
                      </a:pPr>
                      <a:r>
                        <a:rPr lang="el-GR" sz="1000" dirty="0">
                          <a:solidFill>
                            <a:schemeClr val="tx1"/>
                          </a:solidFill>
                          <a:effectLst/>
                        </a:rPr>
                        <a:t>                                                                                  Μεσήλικες ηλικίες: 45-54 </a:t>
                      </a:r>
                      <a:endParaRPr lang="el-GR" sz="1100" dirty="0">
                        <a:solidFill>
                          <a:schemeClr val="tx1"/>
                        </a:solidFill>
                        <a:effectLst/>
                        <a:latin typeface="Calibri"/>
                        <a:ea typeface="Calibri"/>
                        <a:cs typeface="Times New Roman"/>
                      </a:endParaRPr>
                    </a:p>
                  </a:txBody>
                  <a:tcPr marL="68580" marR="68580" marT="0" marB="0" anchor="b">
                    <a:solidFill>
                      <a:schemeClr val="accent4">
                        <a:lumMod val="60000"/>
                        <a:lumOff val="40000"/>
                      </a:schemeClr>
                    </a:solidFill>
                  </a:tcPr>
                </a:tc>
              </a:tr>
              <a:tr h="245240">
                <a:tc>
                  <a:txBody>
                    <a:bodyPr/>
                    <a:lstStyle/>
                    <a:p>
                      <a:pPr>
                        <a:lnSpc>
                          <a:spcPct val="107000"/>
                        </a:lnSpc>
                        <a:spcAft>
                          <a:spcPts val="0"/>
                        </a:spcAft>
                      </a:pPr>
                      <a:r>
                        <a:rPr lang="el-GR" sz="1000" dirty="0">
                          <a:solidFill>
                            <a:schemeClr val="tx1"/>
                          </a:solidFill>
                          <a:effectLst/>
                        </a:rPr>
                        <a:t>Βοηθώντας τα παιδιά για ανώτερες ή ανώτατες σπουδές στην Ελλάδα ή στο εξωτερικό </a:t>
                      </a:r>
                      <a:endParaRPr lang="el-GR" sz="1100" dirty="0">
                        <a:solidFill>
                          <a:schemeClr val="tx1"/>
                        </a:solidFill>
                        <a:effectLst/>
                        <a:latin typeface="Calibri"/>
                        <a:ea typeface="Calibri"/>
                        <a:cs typeface="Times New Roman"/>
                      </a:endParaRPr>
                    </a:p>
                  </a:txBody>
                  <a:tcPr marL="68580" marR="68580" marT="0" marB="0" anchor="b">
                    <a:noFill/>
                  </a:tcPr>
                </a:tc>
              </a:tr>
              <a:tr h="245240">
                <a:tc>
                  <a:txBody>
                    <a:bodyPr/>
                    <a:lstStyle/>
                    <a:p>
                      <a:pPr>
                        <a:lnSpc>
                          <a:spcPct val="107000"/>
                        </a:lnSpc>
                        <a:spcAft>
                          <a:spcPts val="0"/>
                        </a:spcAft>
                      </a:pPr>
                      <a:r>
                        <a:rPr lang="el-GR" sz="1000" dirty="0">
                          <a:solidFill>
                            <a:schemeClr val="tx1"/>
                          </a:solidFill>
                          <a:effectLst/>
                        </a:rPr>
                        <a:t>Αρχικό σχέδιο και όραμα για την περίοδο της  συνταξιοδότησης </a:t>
                      </a:r>
                      <a:endParaRPr lang="el-GR" sz="1100" dirty="0">
                        <a:solidFill>
                          <a:schemeClr val="tx1"/>
                        </a:solidFill>
                        <a:effectLst/>
                        <a:latin typeface="Calibri"/>
                        <a:ea typeface="Calibri"/>
                        <a:cs typeface="Times New Roman"/>
                      </a:endParaRPr>
                    </a:p>
                  </a:txBody>
                  <a:tcPr marL="68580" marR="68580" marT="0" marB="0" anchor="b">
                    <a:noFill/>
                  </a:tcPr>
                </a:tc>
              </a:tr>
              <a:tr h="245240">
                <a:tc>
                  <a:txBody>
                    <a:bodyPr/>
                    <a:lstStyle/>
                    <a:p>
                      <a:pPr>
                        <a:lnSpc>
                          <a:spcPct val="107000"/>
                        </a:lnSpc>
                        <a:spcAft>
                          <a:spcPts val="0"/>
                        </a:spcAft>
                      </a:pPr>
                      <a:r>
                        <a:rPr lang="el-GR" sz="1000" dirty="0">
                          <a:solidFill>
                            <a:schemeClr val="tx1"/>
                          </a:solidFill>
                          <a:effectLst/>
                        </a:rPr>
                        <a:t>Επενδύσεις σε μικτά και μετοχικά διεθνικά χαρτοφυλάκια ανεπτυγμένων χωρών </a:t>
                      </a:r>
                      <a:endParaRPr lang="el-GR" sz="1100" dirty="0">
                        <a:solidFill>
                          <a:schemeClr val="tx1"/>
                        </a:solidFill>
                        <a:effectLst/>
                        <a:latin typeface="Calibri"/>
                        <a:ea typeface="Calibri"/>
                        <a:cs typeface="Times New Roman"/>
                      </a:endParaRPr>
                    </a:p>
                  </a:txBody>
                  <a:tcPr marL="68580" marR="68580" marT="0" marB="0" anchor="b">
                    <a:noFill/>
                  </a:tcPr>
                </a:tc>
              </a:tr>
              <a:tr h="245240">
                <a:tc>
                  <a:txBody>
                    <a:bodyPr/>
                    <a:lstStyle/>
                    <a:p>
                      <a:pPr>
                        <a:lnSpc>
                          <a:spcPct val="107000"/>
                        </a:lnSpc>
                        <a:spcAft>
                          <a:spcPts val="0"/>
                        </a:spcAft>
                      </a:pPr>
                      <a:r>
                        <a:rPr lang="el-GR" sz="1000" dirty="0">
                          <a:solidFill>
                            <a:schemeClr val="tx1"/>
                          </a:solidFill>
                          <a:effectLst/>
                        </a:rPr>
                        <a:t>Ανάπτυξη ολιστικών  περιουσιακών σχεδίων</a:t>
                      </a:r>
                      <a:endParaRPr lang="el-GR" sz="1100" dirty="0">
                        <a:solidFill>
                          <a:schemeClr val="tx1"/>
                        </a:solidFill>
                        <a:effectLst/>
                        <a:latin typeface="Calibri"/>
                        <a:ea typeface="Calibri"/>
                        <a:cs typeface="Times New Roman"/>
                      </a:endParaRPr>
                    </a:p>
                  </a:txBody>
                  <a:tcPr marL="68580" marR="68580" marT="0" marB="0" anchor="b">
                    <a:noFill/>
                  </a:tcPr>
                </a:tc>
              </a:tr>
            </a:tbl>
          </a:graphicData>
        </a:graphic>
      </p:graphicFrame>
      <p:sp>
        <p:nvSpPr>
          <p:cNvPr id="11" name="Rectangle 10"/>
          <p:cNvSpPr/>
          <p:nvPr/>
        </p:nvSpPr>
        <p:spPr>
          <a:xfrm>
            <a:off x="324039" y="5373216"/>
            <a:ext cx="6985287" cy="13681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36056821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556673110"/>
              </p:ext>
            </p:extLst>
          </p:nvPr>
        </p:nvGraphicFramePr>
        <p:xfrm>
          <a:off x="251520" y="332656"/>
          <a:ext cx="6994525" cy="2088233"/>
        </p:xfrm>
        <a:graphic>
          <a:graphicData uri="http://schemas.openxmlformats.org/drawingml/2006/table">
            <a:tbl>
              <a:tblPr firstRow="1" firstCol="1" bandRow="1">
                <a:tableStyleId>{5C22544A-7EE6-4342-B048-85BDC9FD1C3A}</a:tableStyleId>
              </a:tblPr>
              <a:tblGrid>
                <a:gridCol w="6994525"/>
              </a:tblGrid>
              <a:tr h="249126">
                <a:tc>
                  <a:txBody>
                    <a:bodyPr/>
                    <a:lstStyle/>
                    <a:p>
                      <a:pPr>
                        <a:lnSpc>
                          <a:spcPct val="107000"/>
                        </a:lnSpc>
                        <a:spcAft>
                          <a:spcPts val="0"/>
                        </a:spcAft>
                      </a:pPr>
                      <a:r>
                        <a:rPr lang="el-GR" sz="1000" dirty="0">
                          <a:solidFill>
                            <a:schemeClr val="tx1"/>
                          </a:solidFill>
                          <a:effectLst/>
                        </a:rPr>
                        <a:t>                                                                            Προ- συνταξιούχοι ηλικίες: 55-64</a:t>
                      </a:r>
                      <a:endParaRPr lang="el-GR" sz="1100" dirty="0">
                        <a:solidFill>
                          <a:schemeClr val="tx1"/>
                        </a:solidFill>
                        <a:effectLst/>
                        <a:latin typeface="Calibri"/>
                        <a:ea typeface="Calibri"/>
                        <a:cs typeface="Times New Roman"/>
                      </a:endParaRPr>
                    </a:p>
                  </a:txBody>
                  <a:tcPr marL="68580" marR="68580" marT="0" marB="0" anchor="b">
                    <a:solidFill>
                      <a:schemeClr val="accent4">
                        <a:lumMod val="60000"/>
                        <a:lumOff val="40000"/>
                      </a:schemeClr>
                    </a:solidFill>
                  </a:tcPr>
                </a:tc>
              </a:tr>
              <a:tr h="509825">
                <a:tc>
                  <a:txBody>
                    <a:bodyPr/>
                    <a:lstStyle/>
                    <a:p>
                      <a:pPr>
                        <a:lnSpc>
                          <a:spcPct val="107000"/>
                        </a:lnSpc>
                        <a:spcAft>
                          <a:spcPts val="0"/>
                        </a:spcAft>
                      </a:pPr>
                      <a:r>
                        <a:rPr lang="el-GR" sz="1000" dirty="0">
                          <a:solidFill>
                            <a:schemeClr val="tx1"/>
                          </a:solidFill>
                          <a:effectLst/>
                        </a:rPr>
                        <a:t>Μείωση του κινδύνου του συνολικού χαρτοφυλακίου προς συντηρητικότερες μορφές επένδυσης (ομόλογα ανεπτυγμένων χωρών/μικτά διεθνή αμοιβαία κεφάλαια)  παγιώνοντας τον πλούτο της οικογένειας </a:t>
                      </a:r>
                      <a:endParaRPr lang="el-GR" sz="1100" dirty="0">
                        <a:solidFill>
                          <a:schemeClr val="tx1"/>
                        </a:solidFill>
                        <a:effectLst/>
                        <a:latin typeface="Calibri"/>
                        <a:ea typeface="Calibri"/>
                        <a:cs typeface="Times New Roman"/>
                      </a:endParaRPr>
                    </a:p>
                  </a:txBody>
                  <a:tcPr marL="68580" marR="68580" marT="0" marB="0" anchor="ctr">
                    <a:solidFill>
                      <a:schemeClr val="bg1"/>
                    </a:solidFill>
                  </a:tcPr>
                </a:tc>
              </a:tr>
              <a:tr h="249126">
                <a:tc>
                  <a:txBody>
                    <a:bodyPr/>
                    <a:lstStyle/>
                    <a:p>
                      <a:pPr>
                        <a:lnSpc>
                          <a:spcPct val="107000"/>
                        </a:lnSpc>
                        <a:spcAft>
                          <a:spcPts val="0"/>
                        </a:spcAft>
                      </a:pPr>
                      <a:r>
                        <a:rPr lang="el-GR" sz="1000" dirty="0">
                          <a:solidFill>
                            <a:schemeClr val="tx1"/>
                          </a:solidFill>
                          <a:effectLst/>
                        </a:rPr>
                        <a:t>Επαναξιολόγηση  της ακίνητης περιουσίας ή και μετακόμιση σε μικρότερη κατοικία </a:t>
                      </a:r>
                      <a:endParaRPr lang="el-GR" sz="1100" dirty="0">
                        <a:solidFill>
                          <a:schemeClr val="tx1"/>
                        </a:solidFill>
                        <a:effectLst/>
                        <a:latin typeface="Calibri"/>
                        <a:ea typeface="Calibri"/>
                        <a:cs typeface="Times New Roman"/>
                      </a:endParaRPr>
                    </a:p>
                  </a:txBody>
                  <a:tcPr marL="68580" marR="68580" marT="0" marB="0" anchor="ctr">
                    <a:solidFill>
                      <a:schemeClr val="bg1"/>
                    </a:solidFill>
                  </a:tcPr>
                </a:tc>
              </a:tr>
              <a:tr h="270039">
                <a:tc>
                  <a:txBody>
                    <a:bodyPr/>
                    <a:lstStyle/>
                    <a:p>
                      <a:pPr>
                        <a:lnSpc>
                          <a:spcPct val="107000"/>
                        </a:lnSpc>
                        <a:spcAft>
                          <a:spcPts val="0"/>
                        </a:spcAft>
                      </a:pPr>
                      <a:r>
                        <a:rPr lang="el-GR" sz="1000" dirty="0">
                          <a:solidFill>
                            <a:schemeClr val="tx1"/>
                          </a:solidFill>
                          <a:effectLst/>
                        </a:rPr>
                        <a:t>Εκτίμηση και αξιολόγηση των εσόδων και των εξόδων κατά  την περίοδο της συνταξιοδότησης </a:t>
                      </a:r>
                      <a:endParaRPr lang="el-GR" sz="1100" dirty="0">
                        <a:solidFill>
                          <a:schemeClr val="tx1"/>
                        </a:solidFill>
                        <a:effectLst/>
                        <a:latin typeface="Calibri"/>
                        <a:ea typeface="Calibri"/>
                        <a:cs typeface="Times New Roman"/>
                      </a:endParaRPr>
                    </a:p>
                  </a:txBody>
                  <a:tcPr marL="68580" marR="68580" marT="0" marB="0" anchor="ctr">
                    <a:solidFill>
                      <a:schemeClr val="bg1"/>
                    </a:solidFill>
                  </a:tcPr>
                </a:tc>
              </a:tr>
              <a:tr h="270039">
                <a:tc>
                  <a:txBody>
                    <a:bodyPr/>
                    <a:lstStyle/>
                    <a:p>
                      <a:pPr>
                        <a:lnSpc>
                          <a:spcPct val="107000"/>
                        </a:lnSpc>
                        <a:spcAft>
                          <a:spcPts val="0"/>
                        </a:spcAft>
                      </a:pPr>
                      <a:r>
                        <a:rPr lang="el-GR" sz="1000" dirty="0">
                          <a:solidFill>
                            <a:schemeClr val="tx1"/>
                          </a:solidFill>
                          <a:effectLst/>
                        </a:rPr>
                        <a:t>Προγραμματισμός μελλοντικής ασφάλειας</a:t>
                      </a:r>
                      <a:endParaRPr lang="el-GR" sz="1100" dirty="0">
                        <a:solidFill>
                          <a:schemeClr val="tx1"/>
                        </a:solidFill>
                        <a:effectLst/>
                        <a:latin typeface="Calibri"/>
                        <a:ea typeface="Calibri"/>
                        <a:cs typeface="Times New Roman"/>
                      </a:endParaRPr>
                    </a:p>
                  </a:txBody>
                  <a:tcPr marL="68580" marR="68580" marT="0" marB="0" anchor="ctr">
                    <a:solidFill>
                      <a:schemeClr val="bg1"/>
                    </a:solidFill>
                  </a:tcPr>
                </a:tc>
              </a:tr>
              <a:tr h="270039">
                <a:tc>
                  <a:txBody>
                    <a:bodyPr/>
                    <a:lstStyle/>
                    <a:p>
                      <a:pPr>
                        <a:lnSpc>
                          <a:spcPct val="107000"/>
                        </a:lnSpc>
                        <a:spcAft>
                          <a:spcPts val="0"/>
                        </a:spcAft>
                      </a:pPr>
                      <a:r>
                        <a:rPr lang="el-GR" sz="1000" dirty="0">
                          <a:solidFill>
                            <a:schemeClr val="tx1"/>
                          </a:solidFill>
                          <a:effectLst/>
                        </a:rPr>
                        <a:t>Μελέτη  εθελοντισμού στη σύνταξη-ανάπτυξη αγαπημένων δραστηριοτήτων (</a:t>
                      </a:r>
                      <a:r>
                        <a:rPr lang="en-US" sz="1000" dirty="0">
                          <a:solidFill>
                            <a:schemeClr val="tx1"/>
                          </a:solidFill>
                          <a:effectLst/>
                        </a:rPr>
                        <a:t>hobbies</a:t>
                      </a:r>
                      <a:r>
                        <a:rPr lang="el-GR" sz="1000" dirty="0">
                          <a:solidFill>
                            <a:schemeClr val="tx1"/>
                          </a:solidFill>
                          <a:effectLst/>
                        </a:rPr>
                        <a:t>) </a:t>
                      </a:r>
                      <a:endParaRPr lang="el-GR" sz="1100" dirty="0">
                        <a:solidFill>
                          <a:schemeClr val="tx1"/>
                        </a:solidFill>
                        <a:effectLst/>
                        <a:latin typeface="Calibri"/>
                        <a:ea typeface="Calibri"/>
                        <a:cs typeface="Times New Roman"/>
                      </a:endParaRPr>
                    </a:p>
                  </a:txBody>
                  <a:tcPr marL="68580" marR="68580" marT="0" marB="0" anchor="ctr">
                    <a:solidFill>
                      <a:schemeClr val="bg1"/>
                    </a:solidFill>
                  </a:tcPr>
                </a:tc>
              </a:tr>
              <a:tr h="270039">
                <a:tc>
                  <a:txBody>
                    <a:bodyPr/>
                    <a:lstStyle/>
                    <a:p>
                      <a:pPr>
                        <a:lnSpc>
                          <a:spcPct val="107000"/>
                        </a:lnSpc>
                        <a:spcAft>
                          <a:spcPts val="0"/>
                        </a:spcAft>
                      </a:pPr>
                      <a:r>
                        <a:rPr lang="el-GR" sz="1000" dirty="0">
                          <a:solidFill>
                            <a:schemeClr val="tx1"/>
                          </a:solidFill>
                          <a:effectLst/>
                        </a:rPr>
                        <a:t>Ικανοποίηση αναγκών των πιο ηλικιωμένων γονιών τους</a:t>
                      </a:r>
                      <a:endParaRPr lang="el-GR" sz="1100" dirty="0">
                        <a:solidFill>
                          <a:schemeClr val="tx1"/>
                        </a:solidFill>
                        <a:effectLst/>
                        <a:latin typeface="Calibri"/>
                        <a:ea typeface="Calibri"/>
                        <a:cs typeface="Times New Roman"/>
                      </a:endParaRPr>
                    </a:p>
                  </a:txBody>
                  <a:tcPr marL="68580" marR="68580" marT="0" marB="0" anchor="ctr">
                    <a:solidFill>
                      <a:schemeClr val="bg1"/>
                    </a:solidFill>
                  </a:tcPr>
                </a:tc>
              </a:tr>
            </a:tbl>
          </a:graphicData>
        </a:graphic>
      </p:graphicFrame>
      <p:sp>
        <p:nvSpPr>
          <p:cNvPr id="5" name="Rectangle 4"/>
          <p:cNvSpPr/>
          <p:nvPr/>
        </p:nvSpPr>
        <p:spPr>
          <a:xfrm>
            <a:off x="251520" y="332656"/>
            <a:ext cx="6984776" cy="230425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aphicFrame>
        <p:nvGraphicFramePr>
          <p:cNvPr id="6" name="Table 5"/>
          <p:cNvGraphicFramePr>
            <a:graphicFrameLocks noGrp="1"/>
          </p:cNvGraphicFramePr>
          <p:nvPr>
            <p:extLst>
              <p:ext uri="{D42A27DB-BD31-4B8C-83A1-F6EECF244321}">
                <p14:modId xmlns:p14="http://schemas.microsoft.com/office/powerpoint/2010/main" val="3762539402"/>
              </p:ext>
            </p:extLst>
          </p:nvPr>
        </p:nvGraphicFramePr>
        <p:xfrm>
          <a:off x="262895" y="2636912"/>
          <a:ext cx="6994525" cy="1800200"/>
        </p:xfrm>
        <a:graphic>
          <a:graphicData uri="http://schemas.openxmlformats.org/drawingml/2006/table">
            <a:tbl>
              <a:tblPr firstRow="1" firstCol="1" bandRow="1">
                <a:tableStyleId>{5C22544A-7EE6-4342-B048-85BDC9FD1C3A}</a:tableStyleId>
              </a:tblPr>
              <a:tblGrid>
                <a:gridCol w="6994525"/>
              </a:tblGrid>
              <a:tr h="248912">
                <a:tc>
                  <a:txBody>
                    <a:bodyPr/>
                    <a:lstStyle/>
                    <a:p>
                      <a:pPr>
                        <a:lnSpc>
                          <a:spcPct val="107000"/>
                        </a:lnSpc>
                        <a:spcAft>
                          <a:spcPts val="0"/>
                        </a:spcAft>
                      </a:pPr>
                      <a:r>
                        <a:rPr lang="el-GR" sz="1000" dirty="0">
                          <a:solidFill>
                            <a:schemeClr val="tx1"/>
                          </a:solidFill>
                          <a:effectLst/>
                        </a:rPr>
                        <a:t>                                                                          Συνταξιούχοι ηλικίες: 67 και άνω</a:t>
                      </a:r>
                      <a:endParaRPr lang="el-GR" sz="1100" dirty="0">
                        <a:solidFill>
                          <a:schemeClr val="tx1"/>
                        </a:solidFill>
                        <a:effectLst/>
                        <a:latin typeface="Calibri"/>
                        <a:ea typeface="Calibri"/>
                        <a:cs typeface="Times New Roman"/>
                      </a:endParaRPr>
                    </a:p>
                  </a:txBody>
                  <a:tcPr marL="68580" marR="68580" marT="0" marB="0" anchor="b">
                    <a:solidFill>
                      <a:schemeClr val="accent4">
                        <a:lumMod val="60000"/>
                        <a:lumOff val="40000"/>
                      </a:schemeClr>
                    </a:solidFill>
                  </a:tcPr>
                </a:tc>
              </a:tr>
              <a:tr h="509387">
                <a:tc>
                  <a:txBody>
                    <a:bodyPr/>
                    <a:lstStyle/>
                    <a:p>
                      <a:pPr>
                        <a:lnSpc>
                          <a:spcPct val="107000"/>
                        </a:lnSpc>
                        <a:spcAft>
                          <a:spcPts val="0"/>
                        </a:spcAft>
                      </a:pPr>
                      <a:r>
                        <a:rPr lang="el-GR" sz="1000" dirty="0">
                          <a:solidFill>
                            <a:schemeClr val="tx1"/>
                          </a:solidFill>
                          <a:effectLst/>
                        </a:rPr>
                        <a:t>Επαναξιολόγηση και προσαρμογή των συνθηκών ζωής και κατανάλωσης σε συνάρτηση με το νέο εισόδημα  και τις συνθήκες  υγείας</a:t>
                      </a:r>
                      <a:endParaRPr lang="el-GR" sz="1100" dirty="0">
                        <a:solidFill>
                          <a:schemeClr val="tx1"/>
                        </a:solidFill>
                        <a:effectLst/>
                        <a:latin typeface="Calibri"/>
                        <a:ea typeface="Calibri"/>
                        <a:cs typeface="Times New Roman"/>
                      </a:endParaRPr>
                    </a:p>
                  </a:txBody>
                  <a:tcPr marL="68580" marR="68580" marT="0" marB="0" anchor="b">
                    <a:noFill/>
                  </a:tcPr>
                </a:tc>
              </a:tr>
              <a:tr h="295165">
                <a:tc>
                  <a:txBody>
                    <a:bodyPr/>
                    <a:lstStyle/>
                    <a:p>
                      <a:pPr>
                        <a:lnSpc>
                          <a:spcPct val="107000"/>
                        </a:lnSpc>
                        <a:spcAft>
                          <a:spcPts val="0"/>
                        </a:spcAft>
                      </a:pPr>
                      <a:r>
                        <a:rPr lang="el-GR" sz="1000" dirty="0">
                          <a:solidFill>
                            <a:schemeClr val="tx1"/>
                          </a:solidFill>
                          <a:effectLst/>
                        </a:rPr>
                        <a:t>Προσαρμογή των ασφαλιστικών προγραμμάτων στους αυξημένους κινδύνους της ηλικίας</a:t>
                      </a:r>
                      <a:endParaRPr lang="el-GR" sz="1100" dirty="0">
                        <a:solidFill>
                          <a:schemeClr val="tx1"/>
                        </a:solidFill>
                        <a:effectLst/>
                        <a:latin typeface="Calibri"/>
                        <a:ea typeface="Calibri"/>
                        <a:cs typeface="Times New Roman"/>
                      </a:endParaRPr>
                    </a:p>
                  </a:txBody>
                  <a:tcPr marL="68580" marR="68580" marT="0" marB="0" anchor="b">
                    <a:noFill/>
                  </a:tcPr>
                </a:tc>
              </a:tr>
              <a:tr h="248912">
                <a:tc>
                  <a:txBody>
                    <a:bodyPr/>
                    <a:lstStyle/>
                    <a:p>
                      <a:pPr>
                        <a:lnSpc>
                          <a:spcPct val="107000"/>
                        </a:lnSpc>
                        <a:spcAft>
                          <a:spcPts val="0"/>
                        </a:spcAft>
                      </a:pPr>
                      <a:r>
                        <a:rPr lang="el-GR" sz="1000" dirty="0">
                          <a:solidFill>
                            <a:schemeClr val="tx1"/>
                          </a:solidFill>
                          <a:effectLst/>
                        </a:rPr>
                        <a:t>Εθελοντισμός –</a:t>
                      </a:r>
                      <a:r>
                        <a:rPr lang="en-US" sz="1000" dirty="0">
                          <a:solidFill>
                            <a:schemeClr val="tx1"/>
                          </a:solidFill>
                          <a:effectLst/>
                        </a:rPr>
                        <a:t>hobbies</a:t>
                      </a:r>
                      <a:r>
                        <a:rPr lang="el-GR" sz="1000" dirty="0">
                          <a:solidFill>
                            <a:schemeClr val="tx1"/>
                          </a:solidFill>
                          <a:effectLst/>
                        </a:rPr>
                        <a:t>-ταξίδια  </a:t>
                      </a:r>
                      <a:endParaRPr lang="el-GR" sz="1100" dirty="0">
                        <a:solidFill>
                          <a:schemeClr val="tx1"/>
                        </a:solidFill>
                        <a:effectLst/>
                        <a:latin typeface="Calibri"/>
                        <a:ea typeface="Calibri"/>
                        <a:cs typeface="Times New Roman"/>
                      </a:endParaRPr>
                    </a:p>
                  </a:txBody>
                  <a:tcPr marL="68580" marR="68580" marT="0" marB="0" anchor="b">
                    <a:noFill/>
                  </a:tcPr>
                </a:tc>
              </a:tr>
              <a:tr h="248912">
                <a:tc>
                  <a:txBody>
                    <a:bodyPr/>
                    <a:lstStyle/>
                    <a:p>
                      <a:pPr>
                        <a:lnSpc>
                          <a:spcPct val="107000"/>
                        </a:lnSpc>
                        <a:spcAft>
                          <a:spcPts val="0"/>
                        </a:spcAft>
                      </a:pPr>
                      <a:r>
                        <a:rPr lang="el-GR" sz="1000" dirty="0">
                          <a:solidFill>
                            <a:schemeClr val="tx1"/>
                          </a:solidFill>
                          <a:effectLst/>
                        </a:rPr>
                        <a:t>Απόκτηση βοήθειας για τη διευθέτηση προσωπικών &amp; οικονομικών ζητημάτων</a:t>
                      </a:r>
                      <a:endParaRPr lang="el-GR" sz="1100" dirty="0">
                        <a:solidFill>
                          <a:schemeClr val="tx1"/>
                        </a:solidFill>
                        <a:effectLst/>
                        <a:latin typeface="Calibri"/>
                        <a:ea typeface="Calibri"/>
                        <a:cs typeface="Times New Roman"/>
                      </a:endParaRPr>
                    </a:p>
                  </a:txBody>
                  <a:tcPr marL="68580" marR="68580" marT="0" marB="0" anchor="b">
                    <a:noFill/>
                  </a:tcPr>
                </a:tc>
              </a:tr>
              <a:tr h="248912">
                <a:tc>
                  <a:txBody>
                    <a:bodyPr/>
                    <a:lstStyle/>
                    <a:p>
                      <a:pPr>
                        <a:lnSpc>
                          <a:spcPct val="107000"/>
                        </a:lnSpc>
                        <a:spcAft>
                          <a:spcPts val="0"/>
                        </a:spcAft>
                      </a:pPr>
                      <a:r>
                        <a:rPr lang="el-GR" sz="1000" dirty="0">
                          <a:solidFill>
                            <a:schemeClr val="tx1"/>
                          </a:solidFill>
                          <a:effectLst/>
                        </a:rPr>
                        <a:t> Οριστικοποίηση της διαθήκης </a:t>
                      </a:r>
                      <a:endParaRPr lang="el-GR" sz="1100" dirty="0">
                        <a:solidFill>
                          <a:schemeClr val="tx1"/>
                        </a:solidFill>
                        <a:effectLst/>
                        <a:latin typeface="Calibri"/>
                        <a:ea typeface="Calibri"/>
                        <a:cs typeface="Times New Roman"/>
                      </a:endParaRPr>
                    </a:p>
                  </a:txBody>
                  <a:tcPr marL="68580" marR="68580" marT="0" marB="0" anchor="b">
                    <a:noFill/>
                  </a:tcPr>
                </a:tc>
              </a:tr>
            </a:tbl>
          </a:graphicData>
        </a:graphic>
      </p:graphicFrame>
      <p:sp>
        <p:nvSpPr>
          <p:cNvPr id="7" name="Rectangle 6"/>
          <p:cNvSpPr/>
          <p:nvPr/>
        </p:nvSpPr>
        <p:spPr>
          <a:xfrm>
            <a:off x="251520" y="2636912"/>
            <a:ext cx="6984776" cy="208823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15532406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Users\farmakich\Downloads\image0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620688"/>
            <a:ext cx="7704856" cy="59046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7128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ChangeArrowheads="1"/>
          </p:cNvSpPr>
          <p:nvPr>
            <p:ph type="title" idx="4294967295"/>
          </p:nvPr>
        </p:nvSpPr>
        <p:spPr>
          <a:xfrm>
            <a:off x="395288" y="417513"/>
            <a:ext cx="8524875" cy="1066800"/>
          </a:xfrm>
        </p:spPr>
        <p:txBody>
          <a:bodyPr/>
          <a:lstStyle/>
          <a:p>
            <a:pPr algn="ctr"/>
            <a:r>
              <a:rPr lang="el-GR" altLang="el-GR" b="1" i="1" smtClean="0">
                <a:latin typeface="Times New Roman" pitchFamily="18" charset="0"/>
                <a:cs typeface="Times New Roman" pitchFamily="18" charset="0"/>
              </a:rPr>
              <a:t>Μυωπία</a:t>
            </a:r>
          </a:p>
        </p:txBody>
      </p:sp>
      <p:sp>
        <p:nvSpPr>
          <p:cNvPr id="71683" name="Rectangle 3"/>
          <p:cNvSpPr>
            <a:spLocks noGrp="1" noChangeArrowheads="1"/>
          </p:cNvSpPr>
          <p:nvPr>
            <p:ph type="body" idx="4294967295"/>
          </p:nvPr>
        </p:nvSpPr>
        <p:spPr>
          <a:xfrm>
            <a:off x="250825" y="1662113"/>
            <a:ext cx="8648700" cy="4719637"/>
          </a:xfrm>
        </p:spPr>
        <p:txBody>
          <a:bodyPr>
            <a:normAutofit fontScale="85000" lnSpcReduction="20000"/>
          </a:bodyPr>
          <a:lstStyle/>
          <a:p>
            <a:pPr>
              <a:lnSpc>
                <a:spcPct val="80000"/>
              </a:lnSpc>
            </a:pPr>
            <a:r>
              <a:rPr lang="el-GR" altLang="el-GR" smtClean="0">
                <a:latin typeface="Times New Roman" pitchFamily="18" charset="0"/>
                <a:cs typeface="Times New Roman" pitchFamily="18" charset="0"/>
              </a:rPr>
              <a:t>Η μυωπία προκύπτει από την τάση τόσο των μεμονωμένων επενδυτών όσο και των επαγγελματιών διαχειριστών να επενδύουν βασιζόμενοι στις πιο πρόσφατες εξελίξεις και γεγονότα, όπως για παράδειγμα μια απότομη άνοδος των τιμών των μετοχών, αγνοώντας τις μακροπρόθεσμες τάσεις. </a:t>
            </a:r>
          </a:p>
          <a:p>
            <a:pPr>
              <a:lnSpc>
                <a:spcPct val="80000"/>
              </a:lnSpc>
            </a:pPr>
            <a:endParaRPr lang="el-GR" altLang="el-GR" smtClean="0">
              <a:latin typeface="Times New Roman" pitchFamily="18" charset="0"/>
              <a:cs typeface="Times New Roman" pitchFamily="18" charset="0"/>
            </a:endParaRPr>
          </a:p>
          <a:p>
            <a:pPr>
              <a:lnSpc>
                <a:spcPct val="80000"/>
              </a:lnSpc>
            </a:pPr>
            <a:r>
              <a:rPr lang="el-GR" altLang="el-GR" smtClean="0">
                <a:latin typeface="Times New Roman" pitchFamily="18" charset="0"/>
                <a:cs typeface="Times New Roman" pitchFamily="18" charset="0"/>
              </a:rPr>
              <a:t>Σε κάποιον βαθμό και η μυωπία σχετίζεται με τον φόβο και την απληστία. </a:t>
            </a:r>
            <a:endParaRPr lang="en-US" altLang="el-GR" smtClean="0">
              <a:latin typeface="Times New Roman" pitchFamily="18" charset="0"/>
              <a:cs typeface="Times New Roman" pitchFamily="18" charset="0"/>
            </a:endParaRPr>
          </a:p>
          <a:p>
            <a:pPr>
              <a:lnSpc>
                <a:spcPct val="80000"/>
              </a:lnSpc>
            </a:pPr>
            <a:r>
              <a:rPr lang="en-US" altLang="el-GR" smtClean="0">
                <a:latin typeface="Times New Roman" pitchFamily="18" charset="0"/>
                <a:cs typeface="Times New Roman" pitchFamily="18" charset="0"/>
              </a:rPr>
              <a:t>Home Bias</a:t>
            </a:r>
            <a:endParaRPr lang="el-GR" altLang="el-GR" smtClean="0">
              <a:latin typeface="Times New Roman" pitchFamily="18" charset="0"/>
              <a:cs typeface="Times New Roman" pitchFamily="18" charset="0"/>
            </a:endParaRPr>
          </a:p>
          <a:p>
            <a:pPr>
              <a:lnSpc>
                <a:spcPct val="80000"/>
              </a:lnSpc>
            </a:pPr>
            <a:endParaRPr lang="el-GR" altLang="el-GR" smtClean="0">
              <a:latin typeface="Times New Roman" pitchFamily="18" charset="0"/>
              <a:cs typeface="Times New Roman" pitchFamily="18" charset="0"/>
            </a:endParaRPr>
          </a:p>
          <a:p>
            <a:pPr>
              <a:lnSpc>
                <a:spcPct val="80000"/>
              </a:lnSpc>
            </a:pPr>
            <a:r>
              <a:rPr lang="el-GR" altLang="el-GR" smtClean="0">
                <a:latin typeface="Times New Roman" pitchFamily="18" charset="0"/>
                <a:cs typeface="Times New Roman" pitchFamily="18" charset="0"/>
              </a:rPr>
              <a:t>Η μυωπία μας οδηγεί στην αδυναμία                   να εστιάσουμε στη "μεγάλη εικόνα". </a:t>
            </a:r>
            <a:br>
              <a:rPr lang="el-GR" altLang="el-GR" smtClean="0">
                <a:latin typeface="Times New Roman" pitchFamily="18" charset="0"/>
                <a:cs typeface="Times New Roman" pitchFamily="18" charset="0"/>
              </a:rPr>
            </a:br>
            <a:r>
              <a:rPr lang="el-GR" altLang="el-GR" smtClean="0">
                <a:latin typeface="Times New Roman" pitchFamily="18" charset="0"/>
                <a:cs typeface="Times New Roman" pitchFamily="18" charset="0"/>
              </a:rPr>
              <a:t/>
            </a:r>
            <a:br>
              <a:rPr lang="el-GR" altLang="el-GR" smtClean="0">
                <a:latin typeface="Times New Roman" pitchFamily="18" charset="0"/>
                <a:cs typeface="Times New Roman" pitchFamily="18" charset="0"/>
              </a:rPr>
            </a:br>
            <a:endParaRPr lang="el-GR" altLang="el-GR" smtClean="0">
              <a:latin typeface="Times New Roman" pitchFamily="18" charset="0"/>
              <a:cs typeface="Times New Roman" pitchFamily="18" charset="0"/>
            </a:endParaRPr>
          </a:p>
        </p:txBody>
      </p:sp>
      <p:pic>
        <p:nvPicPr>
          <p:cNvPr id="32772" name="Picture 4"/>
          <p:cNvPicPr>
            <a:picLocks noChangeAspect="1" noChangeArrowheads="1"/>
          </p:cNvPicPr>
          <p:nvPr/>
        </p:nvPicPr>
        <p:blipFill>
          <a:blip r:embed="rId3" cstate="print"/>
          <a:srcRect/>
          <a:stretch>
            <a:fillRect/>
          </a:stretch>
        </p:blipFill>
        <p:spPr bwMode="auto">
          <a:xfrm>
            <a:off x="6876256" y="4941168"/>
            <a:ext cx="1965101" cy="1628800"/>
          </a:xfrm>
          <a:prstGeom prst="rect">
            <a:avLst/>
          </a:prstGeom>
          <a:noFill/>
          <a:ln w="9525">
            <a:noFill/>
            <a:miter lim="800000"/>
            <a:headEnd/>
            <a:tailEnd/>
          </a:ln>
          <a:scene3d>
            <a:camera prst="orthographicFront"/>
            <a:lightRig rig="threePt" dir="t"/>
          </a:scene3d>
          <a:sp3d>
            <a:bevelT/>
          </a:sp3d>
        </p:spPr>
      </p:pic>
    </p:spTree>
    <p:extLst>
      <p:ext uri="{BB962C8B-B14F-4D97-AF65-F5344CB8AC3E}">
        <p14:creationId xmlns:p14="http://schemas.microsoft.com/office/powerpoint/2010/main" val="380873809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706" name="Picture 5" descr="map_of_greec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850" y="725488"/>
            <a:ext cx="8496300" cy="587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707" name="Text Box 6"/>
          <p:cNvSpPr txBox="1">
            <a:spLocks noChangeArrowheads="1"/>
          </p:cNvSpPr>
          <p:nvPr/>
        </p:nvSpPr>
        <p:spPr bwMode="auto">
          <a:xfrm>
            <a:off x="2557463" y="0"/>
            <a:ext cx="3527425"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50000"/>
              </a:spcBef>
              <a:buFontTx/>
              <a:buNone/>
            </a:pPr>
            <a:r>
              <a:rPr lang="el-GR" altLang="el-GR" sz="2800" b="1" i="1">
                <a:solidFill>
                  <a:srgbClr val="000099"/>
                </a:solidFill>
                <a:latin typeface="Times New Roman" pitchFamily="18" charset="0"/>
              </a:rPr>
              <a:t>ΕΛΛΑΔΑ</a:t>
            </a:r>
          </a:p>
        </p:txBody>
      </p:sp>
    </p:spTree>
    <p:extLst>
      <p:ext uri="{BB962C8B-B14F-4D97-AF65-F5344CB8AC3E}">
        <p14:creationId xmlns:p14="http://schemas.microsoft.com/office/powerpoint/2010/main" val="1422291170"/>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0" name="Picture 5" descr="165363-europe%2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825" y="836613"/>
            <a:ext cx="8569325" cy="583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1" name="Text Box 6"/>
          <p:cNvSpPr txBox="1">
            <a:spLocks noChangeArrowheads="1"/>
          </p:cNvSpPr>
          <p:nvPr/>
        </p:nvSpPr>
        <p:spPr bwMode="auto">
          <a:xfrm>
            <a:off x="2557463" y="0"/>
            <a:ext cx="3527425"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50000"/>
              </a:spcBef>
              <a:buFontTx/>
              <a:buNone/>
            </a:pPr>
            <a:r>
              <a:rPr lang="el-GR" altLang="el-GR" sz="2800" b="1" i="1">
                <a:solidFill>
                  <a:srgbClr val="000099"/>
                </a:solidFill>
                <a:latin typeface="Times New Roman" pitchFamily="18" charset="0"/>
              </a:rPr>
              <a:t>ΕΥΡΩΠΗ</a:t>
            </a:r>
          </a:p>
        </p:txBody>
      </p:sp>
      <p:sp>
        <p:nvSpPr>
          <p:cNvPr id="5" name="Oval 4"/>
          <p:cNvSpPr/>
          <p:nvPr/>
        </p:nvSpPr>
        <p:spPr>
          <a:xfrm>
            <a:off x="4932363" y="5373688"/>
            <a:ext cx="1368425" cy="10795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extLst>
      <p:ext uri="{BB962C8B-B14F-4D97-AF65-F5344CB8AC3E}">
        <p14:creationId xmlns:p14="http://schemas.microsoft.com/office/powerpoint/2010/main" val="206281607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4" name="Picture 2" descr="C:\Users\philippas\Desktop\ΕΙΡΗΝΗ!\large-big-size-world-political-map.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val 4"/>
          <p:cNvSpPr/>
          <p:nvPr/>
        </p:nvSpPr>
        <p:spPr>
          <a:xfrm>
            <a:off x="4724400" y="1981200"/>
            <a:ext cx="228600" cy="228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Oval 5"/>
          <p:cNvSpPr/>
          <p:nvPr/>
        </p:nvSpPr>
        <p:spPr>
          <a:xfrm>
            <a:off x="0" y="304800"/>
            <a:ext cx="9144000" cy="65532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Oval 7"/>
          <p:cNvSpPr/>
          <p:nvPr/>
        </p:nvSpPr>
        <p:spPr>
          <a:xfrm>
            <a:off x="4038600" y="1066800"/>
            <a:ext cx="1371600" cy="1295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TextBox 8"/>
          <p:cNvSpPr txBox="1"/>
          <p:nvPr/>
        </p:nvSpPr>
        <p:spPr>
          <a:xfrm>
            <a:off x="1371600" y="0"/>
            <a:ext cx="1143000" cy="369888"/>
          </a:xfrm>
          <a:prstGeom prst="rect">
            <a:avLst/>
          </a:prstGeom>
          <a:solidFill>
            <a:schemeClr val="bg1">
              <a:lumMod val="95000"/>
            </a:schemeClr>
          </a:solidFill>
        </p:spPr>
        <p:txBody>
          <a:bodyPr>
            <a:spAutoFit/>
          </a:bodyPr>
          <a:lstStyle/>
          <a:p>
            <a:pPr fontAlgn="auto">
              <a:spcBef>
                <a:spcPts val="0"/>
              </a:spcBef>
              <a:spcAft>
                <a:spcPts val="0"/>
              </a:spcAft>
              <a:defRPr/>
            </a:pPr>
            <a:endParaRPr lang="en-US" dirty="0">
              <a:latin typeface="+mn-lt"/>
            </a:endParaRPr>
          </a:p>
        </p:txBody>
      </p:sp>
      <p:sp>
        <p:nvSpPr>
          <p:cNvPr id="10" name="TextBox 9"/>
          <p:cNvSpPr txBox="1"/>
          <p:nvPr/>
        </p:nvSpPr>
        <p:spPr>
          <a:xfrm>
            <a:off x="0" y="304800"/>
            <a:ext cx="1371600" cy="369888"/>
          </a:xfrm>
          <a:prstGeom prst="rect">
            <a:avLst/>
          </a:prstGeom>
          <a:solidFill>
            <a:schemeClr val="bg1">
              <a:lumMod val="95000"/>
            </a:schemeClr>
          </a:solidFill>
        </p:spPr>
        <p:txBody>
          <a:bodyPr>
            <a:spAutoFit/>
          </a:bodyPr>
          <a:lstStyle/>
          <a:p>
            <a:pPr fontAlgn="auto">
              <a:spcBef>
                <a:spcPts val="0"/>
              </a:spcBef>
              <a:spcAft>
                <a:spcPts val="0"/>
              </a:spcAft>
              <a:defRPr/>
            </a:pPr>
            <a:endParaRPr lang="en-US" dirty="0">
              <a:latin typeface="+mn-lt"/>
            </a:endParaRPr>
          </a:p>
        </p:txBody>
      </p:sp>
      <p:sp>
        <p:nvSpPr>
          <p:cNvPr id="11" name="TextBox 10"/>
          <p:cNvSpPr txBox="1"/>
          <p:nvPr/>
        </p:nvSpPr>
        <p:spPr>
          <a:xfrm>
            <a:off x="304800" y="685800"/>
            <a:ext cx="685800" cy="369888"/>
          </a:xfrm>
          <a:prstGeom prst="rect">
            <a:avLst/>
          </a:prstGeom>
          <a:solidFill>
            <a:schemeClr val="bg1">
              <a:lumMod val="95000"/>
            </a:schemeClr>
          </a:solidFill>
        </p:spPr>
        <p:txBody>
          <a:bodyPr>
            <a:spAutoFit/>
          </a:bodyPr>
          <a:lstStyle/>
          <a:p>
            <a:pPr fontAlgn="auto">
              <a:spcBef>
                <a:spcPts val="0"/>
              </a:spcBef>
              <a:spcAft>
                <a:spcPts val="0"/>
              </a:spcAft>
              <a:defRPr/>
            </a:pPr>
            <a:endParaRPr lang="en-US" dirty="0">
              <a:latin typeface="+mn-lt"/>
            </a:endParaRPr>
          </a:p>
        </p:txBody>
      </p:sp>
      <p:sp>
        <p:nvSpPr>
          <p:cNvPr id="12" name="TextBox 11"/>
          <p:cNvSpPr txBox="1"/>
          <p:nvPr/>
        </p:nvSpPr>
        <p:spPr>
          <a:xfrm>
            <a:off x="8458200" y="6400800"/>
            <a:ext cx="685800" cy="369888"/>
          </a:xfrm>
          <a:prstGeom prst="rect">
            <a:avLst/>
          </a:prstGeom>
          <a:solidFill>
            <a:schemeClr val="bg1">
              <a:lumMod val="95000"/>
            </a:schemeClr>
          </a:solidFill>
        </p:spPr>
        <p:txBody>
          <a:bodyPr>
            <a:spAutoFit/>
          </a:bodyPr>
          <a:lstStyle/>
          <a:p>
            <a:pPr fontAlgn="auto">
              <a:spcBef>
                <a:spcPts val="0"/>
              </a:spcBef>
              <a:spcAft>
                <a:spcPts val="0"/>
              </a:spcAft>
              <a:defRPr/>
            </a:pPr>
            <a:endParaRPr lang="en-US" dirty="0">
              <a:latin typeface="+mn-lt"/>
            </a:endParaRPr>
          </a:p>
        </p:txBody>
      </p:sp>
      <p:sp>
        <p:nvSpPr>
          <p:cNvPr id="14" name="TextBox 13"/>
          <p:cNvSpPr txBox="1">
            <a:spLocks noChangeArrowheads="1"/>
          </p:cNvSpPr>
          <p:nvPr/>
        </p:nvSpPr>
        <p:spPr bwMode="auto">
          <a:xfrm>
            <a:off x="34925" y="765175"/>
            <a:ext cx="13684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
              </a:spcBef>
              <a:buClr>
                <a:srgbClr val="A04DA3"/>
              </a:buClr>
              <a:buFont typeface="Georgia" pitchFamily="18" charset="0"/>
              <a:buChar char="•"/>
              <a:defRPr sz="2800">
                <a:solidFill>
                  <a:schemeClr val="tx1"/>
                </a:solidFill>
                <a:latin typeface="Georgia" pitchFamily="18" charset="0"/>
              </a:defRPr>
            </a:lvl1pPr>
            <a:lvl2pPr marL="742950" indent="-285750" eaLnBrk="0" hangingPunct="0">
              <a:spcBef>
                <a:spcPts val="300"/>
              </a:spcBef>
              <a:buClr>
                <a:schemeClr val="accent2"/>
              </a:buClr>
              <a:buFont typeface="Georgia" pitchFamily="18" charset="0"/>
              <a:buChar char="▫"/>
              <a:defRPr sz="2600">
                <a:solidFill>
                  <a:schemeClr val="accent2"/>
                </a:solidFill>
                <a:latin typeface="Georgia" pitchFamily="18" charset="0"/>
              </a:defRPr>
            </a:lvl2pPr>
            <a:lvl3pPr marL="1143000" indent="-228600" eaLnBrk="0" hangingPunct="0">
              <a:spcBef>
                <a:spcPts val="300"/>
              </a:spcBef>
              <a:buClr>
                <a:schemeClr val="accent1"/>
              </a:buClr>
              <a:buFont typeface="Wingdings 2" pitchFamily="18" charset="2"/>
              <a:buChar char=""/>
              <a:defRPr sz="2400">
                <a:solidFill>
                  <a:schemeClr val="accent1"/>
                </a:solidFill>
                <a:latin typeface="Georgia" pitchFamily="18" charset="0"/>
              </a:defRPr>
            </a:lvl3pPr>
            <a:lvl4pPr marL="1600200" indent="-228600" eaLnBrk="0" hangingPunct="0">
              <a:spcBef>
                <a:spcPts val="300"/>
              </a:spcBef>
              <a:buClr>
                <a:schemeClr val="accent1"/>
              </a:buClr>
              <a:buFont typeface="Wingdings 2" pitchFamily="18" charset="2"/>
              <a:buChar char=""/>
              <a:defRPr sz="2200">
                <a:solidFill>
                  <a:schemeClr val="accent1"/>
                </a:solidFill>
                <a:latin typeface="Georgia" pitchFamily="18" charset="0"/>
              </a:defRPr>
            </a:lvl4pPr>
            <a:lvl5pPr marL="2057400" indent="-228600" eaLnBrk="0" hangingPunct="0">
              <a:spcBef>
                <a:spcPts val="300"/>
              </a:spcBef>
              <a:buClr>
                <a:srgbClr val="A04DA3"/>
              </a:buClr>
              <a:buFont typeface="Georgia" pitchFamily="18" charset="0"/>
              <a:buChar char="▫"/>
              <a:defRPr sz="2000">
                <a:solidFill>
                  <a:srgbClr val="A04DA3"/>
                </a:solidFill>
                <a:latin typeface="Georgia" pitchFamily="18" charset="0"/>
              </a:defRPr>
            </a:lvl5pPr>
            <a:lvl6pPr marL="25146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6pPr>
            <a:lvl7pPr marL="29718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7pPr>
            <a:lvl8pPr marL="34290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8pPr>
            <a:lvl9pPr marL="38862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9pPr>
          </a:lstStyle>
          <a:p>
            <a:pPr eaLnBrk="1" hangingPunct="1">
              <a:spcBef>
                <a:spcPct val="0"/>
              </a:spcBef>
              <a:buClrTx/>
              <a:buFontTx/>
              <a:buNone/>
            </a:pPr>
            <a:r>
              <a:rPr lang="el-GR" altLang="el-GR" sz="1800" b="1" i="1">
                <a:solidFill>
                  <a:srgbClr val="FF0000"/>
                </a:solidFill>
                <a:latin typeface="Times New Roman" pitchFamily="18" charset="0"/>
              </a:rPr>
              <a:t>Ο κόσμος</a:t>
            </a:r>
            <a:endParaRPr lang="en-US" altLang="el-GR" sz="1800" b="1" i="1">
              <a:solidFill>
                <a:srgbClr val="FF0000"/>
              </a:solidFill>
              <a:latin typeface="Times New Roman" pitchFamily="18" charset="0"/>
            </a:endParaRPr>
          </a:p>
        </p:txBody>
      </p:sp>
    </p:spTree>
    <p:extLst>
      <p:ext uri="{BB962C8B-B14F-4D97-AF65-F5344CB8AC3E}">
        <p14:creationId xmlns:p14="http://schemas.microsoft.com/office/powerpoint/2010/main" val="194889448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778" name="Chart 1"/>
          <p:cNvGraphicFramePr>
            <a:graphicFrameLocks/>
          </p:cNvGraphicFramePr>
          <p:nvPr/>
        </p:nvGraphicFramePr>
        <p:xfrm>
          <a:off x="57150" y="1290638"/>
          <a:ext cx="7832725" cy="4349750"/>
        </p:xfrm>
        <a:graphic>
          <a:graphicData uri="http://schemas.openxmlformats.org/presentationml/2006/ole">
            <mc:AlternateContent xmlns:mc="http://schemas.openxmlformats.org/markup-compatibility/2006">
              <mc:Choice xmlns:v="urn:schemas-microsoft-com:vml" Requires="v">
                <p:oleObj spid="_x0000_s4105" name="Worksheet" r:id="rId3" imgW="9403003" imgH="5212080" progId="Excel.Sheet.8">
                  <p:embed/>
                </p:oleObj>
              </mc:Choice>
              <mc:Fallback>
                <p:oleObj name="Worksheet" r:id="rId3" imgW="9403003" imgH="5212080" progId="Excel.Sheet.8">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150" y="1290638"/>
                        <a:ext cx="7832725" cy="434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5779" name="TextBox 2"/>
          <p:cNvSpPr txBox="1">
            <a:spLocks noChangeArrowheads="1"/>
          </p:cNvSpPr>
          <p:nvPr/>
        </p:nvSpPr>
        <p:spPr bwMode="auto">
          <a:xfrm>
            <a:off x="323850" y="333375"/>
            <a:ext cx="842486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
              </a:spcBef>
              <a:buClr>
                <a:srgbClr val="A04DA3"/>
              </a:buClr>
              <a:buFont typeface="Georgia" pitchFamily="18" charset="0"/>
              <a:buChar char="•"/>
              <a:defRPr sz="2800">
                <a:solidFill>
                  <a:schemeClr val="tx1"/>
                </a:solidFill>
                <a:latin typeface="Georgia" pitchFamily="18" charset="0"/>
              </a:defRPr>
            </a:lvl1pPr>
            <a:lvl2pPr marL="742950" indent="-285750" eaLnBrk="0" hangingPunct="0">
              <a:spcBef>
                <a:spcPts val="300"/>
              </a:spcBef>
              <a:buClr>
                <a:schemeClr val="accent2"/>
              </a:buClr>
              <a:buFont typeface="Georgia" pitchFamily="18" charset="0"/>
              <a:buChar char="▫"/>
              <a:defRPr sz="2600">
                <a:solidFill>
                  <a:schemeClr val="accent2"/>
                </a:solidFill>
                <a:latin typeface="Georgia" pitchFamily="18" charset="0"/>
              </a:defRPr>
            </a:lvl2pPr>
            <a:lvl3pPr marL="1143000" indent="-228600" eaLnBrk="0" hangingPunct="0">
              <a:spcBef>
                <a:spcPts val="300"/>
              </a:spcBef>
              <a:buClr>
                <a:schemeClr val="accent1"/>
              </a:buClr>
              <a:buFont typeface="Wingdings 2" pitchFamily="18" charset="2"/>
              <a:buChar char=""/>
              <a:defRPr sz="2400">
                <a:solidFill>
                  <a:schemeClr val="accent1"/>
                </a:solidFill>
                <a:latin typeface="Georgia" pitchFamily="18" charset="0"/>
              </a:defRPr>
            </a:lvl3pPr>
            <a:lvl4pPr marL="1600200" indent="-228600" eaLnBrk="0" hangingPunct="0">
              <a:spcBef>
                <a:spcPts val="300"/>
              </a:spcBef>
              <a:buClr>
                <a:schemeClr val="accent1"/>
              </a:buClr>
              <a:buFont typeface="Wingdings 2" pitchFamily="18" charset="2"/>
              <a:buChar char=""/>
              <a:defRPr sz="2200">
                <a:solidFill>
                  <a:schemeClr val="accent1"/>
                </a:solidFill>
                <a:latin typeface="Georgia" pitchFamily="18" charset="0"/>
              </a:defRPr>
            </a:lvl4pPr>
            <a:lvl5pPr marL="2057400" indent="-228600" eaLnBrk="0" hangingPunct="0">
              <a:spcBef>
                <a:spcPts val="300"/>
              </a:spcBef>
              <a:buClr>
                <a:srgbClr val="A04DA3"/>
              </a:buClr>
              <a:buFont typeface="Georgia" pitchFamily="18" charset="0"/>
              <a:buChar char="▫"/>
              <a:defRPr sz="2000">
                <a:solidFill>
                  <a:srgbClr val="A04DA3"/>
                </a:solidFill>
                <a:latin typeface="Georgia" pitchFamily="18" charset="0"/>
              </a:defRPr>
            </a:lvl5pPr>
            <a:lvl6pPr marL="25146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6pPr>
            <a:lvl7pPr marL="29718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7pPr>
            <a:lvl8pPr marL="34290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8pPr>
            <a:lvl9pPr marL="38862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9pPr>
          </a:lstStyle>
          <a:p>
            <a:pPr eaLnBrk="1" hangingPunct="1">
              <a:spcBef>
                <a:spcPct val="0"/>
              </a:spcBef>
              <a:buClrTx/>
              <a:buFontTx/>
              <a:buNone/>
            </a:pPr>
            <a:r>
              <a:rPr lang="el-GR" altLang="el-GR" sz="2400" b="1">
                <a:solidFill>
                  <a:srgbClr val="FFFFFF"/>
                </a:solidFill>
                <a:latin typeface="Times New Roman" pitchFamily="18" charset="0"/>
              </a:rPr>
              <a:t>Χαρτοφυλάκιο «μέσου» Έλληνα</a:t>
            </a:r>
          </a:p>
        </p:txBody>
      </p:sp>
      <p:sp>
        <p:nvSpPr>
          <p:cNvPr id="75780" name="TextBox 3"/>
          <p:cNvSpPr txBox="1">
            <a:spLocks noChangeArrowheads="1"/>
          </p:cNvSpPr>
          <p:nvPr/>
        </p:nvSpPr>
        <p:spPr bwMode="auto">
          <a:xfrm>
            <a:off x="395288" y="908050"/>
            <a:ext cx="85693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
              </a:spcBef>
              <a:buClr>
                <a:srgbClr val="A04DA3"/>
              </a:buClr>
              <a:buFont typeface="Georgia" pitchFamily="18" charset="0"/>
              <a:buChar char="•"/>
              <a:defRPr sz="2800">
                <a:solidFill>
                  <a:schemeClr val="tx1"/>
                </a:solidFill>
                <a:latin typeface="Georgia" pitchFamily="18" charset="0"/>
              </a:defRPr>
            </a:lvl1pPr>
            <a:lvl2pPr marL="742950" indent="-285750" eaLnBrk="0" hangingPunct="0">
              <a:spcBef>
                <a:spcPts val="300"/>
              </a:spcBef>
              <a:buClr>
                <a:schemeClr val="accent2"/>
              </a:buClr>
              <a:buFont typeface="Georgia" pitchFamily="18" charset="0"/>
              <a:buChar char="▫"/>
              <a:defRPr sz="2600">
                <a:solidFill>
                  <a:schemeClr val="accent2"/>
                </a:solidFill>
                <a:latin typeface="Georgia" pitchFamily="18" charset="0"/>
              </a:defRPr>
            </a:lvl2pPr>
            <a:lvl3pPr marL="1143000" indent="-228600" eaLnBrk="0" hangingPunct="0">
              <a:spcBef>
                <a:spcPts val="300"/>
              </a:spcBef>
              <a:buClr>
                <a:schemeClr val="accent1"/>
              </a:buClr>
              <a:buFont typeface="Wingdings 2" pitchFamily="18" charset="2"/>
              <a:buChar char=""/>
              <a:defRPr sz="2400">
                <a:solidFill>
                  <a:schemeClr val="accent1"/>
                </a:solidFill>
                <a:latin typeface="Georgia" pitchFamily="18" charset="0"/>
              </a:defRPr>
            </a:lvl3pPr>
            <a:lvl4pPr marL="1600200" indent="-228600" eaLnBrk="0" hangingPunct="0">
              <a:spcBef>
                <a:spcPts val="300"/>
              </a:spcBef>
              <a:buClr>
                <a:schemeClr val="accent1"/>
              </a:buClr>
              <a:buFont typeface="Wingdings 2" pitchFamily="18" charset="2"/>
              <a:buChar char=""/>
              <a:defRPr sz="2200">
                <a:solidFill>
                  <a:schemeClr val="accent1"/>
                </a:solidFill>
                <a:latin typeface="Georgia" pitchFamily="18" charset="0"/>
              </a:defRPr>
            </a:lvl4pPr>
            <a:lvl5pPr marL="2057400" indent="-228600" eaLnBrk="0" hangingPunct="0">
              <a:spcBef>
                <a:spcPts val="300"/>
              </a:spcBef>
              <a:buClr>
                <a:srgbClr val="A04DA3"/>
              </a:buClr>
              <a:buFont typeface="Georgia" pitchFamily="18" charset="0"/>
              <a:buChar char="▫"/>
              <a:defRPr sz="2000">
                <a:solidFill>
                  <a:srgbClr val="A04DA3"/>
                </a:solidFill>
                <a:latin typeface="Georgia" pitchFamily="18" charset="0"/>
              </a:defRPr>
            </a:lvl5pPr>
            <a:lvl6pPr marL="25146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6pPr>
            <a:lvl7pPr marL="29718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7pPr>
            <a:lvl8pPr marL="34290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8pPr>
            <a:lvl9pPr marL="3886200" indent="-228600" eaLnBrk="0" fontAlgn="base" hangingPunct="0">
              <a:spcBef>
                <a:spcPts val="300"/>
              </a:spcBef>
              <a:spcAft>
                <a:spcPct val="0"/>
              </a:spcAft>
              <a:buClr>
                <a:srgbClr val="A04DA3"/>
              </a:buClr>
              <a:buFont typeface="Georgia" pitchFamily="18" charset="0"/>
              <a:buChar char="▫"/>
              <a:defRPr sz="2000">
                <a:solidFill>
                  <a:srgbClr val="A04DA3"/>
                </a:solidFill>
                <a:latin typeface="Georgia" pitchFamily="18" charset="0"/>
              </a:defRPr>
            </a:lvl9pPr>
          </a:lstStyle>
          <a:p>
            <a:pPr eaLnBrk="1" hangingPunct="1">
              <a:spcBef>
                <a:spcPct val="0"/>
              </a:spcBef>
              <a:buClrTx/>
              <a:buFontTx/>
              <a:buNone/>
            </a:pPr>
            <a:r>
              <a:rPr lang="el-GR" altLang="el-GR" sz="1800">
                <a:solidFill>
                  <a:srgbClr val="000000"/>
                </a:solidFill>
                <a:latin typeface="Times New Roman" pitchFamily="18" charset="0"/>
              </a:rPr>
              <a:t>Ελλιπής διαφοροποίησης και </a:t>
            </a:r>
            <a:r>
              <a:rPr lang="en-US" altLang="el-GR" sz="1800">
                <a:solidFill>
                  <a:srgbClr val="000000"/>
                </a:solidFill>
                <a:latin typeface="Times New Roman" pitchFamily="18" charset="0"/>
              </a:rPr>
              <a:t>home bias</a:t>
            </a:r>
            <a:endParaRPr lang="el-GR" altLang="el-GR" sz="1800">
              <a:solidFill>
                <a:srgbClr val="000000"/>
              </a:solidFill>
              <a:latin typeface="Times New Roman" pitchFamily="18" charset="0"/>
            </a:endParaRPr>
          </a:p>
        </p:txBody>
      </p:sp>
    </p:spTree>
    <p:extLst>
      <p:ext uri="{BB962C8B-B14F-4D97-AF65-F5344CB8AC3E}">
        <p14:creationId xmlns:p14="http://schemas.microsoft.com/office/powerpoint/2010/main" val="3373864369"/>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07504" y="836712"/>
            <a:ext cx="8856984" cy="5832648"/>
            <a:chOff x="-827813" y="-914401"/>
            <a:chExt cx="9734550" cy="6353174"/>
          </a:xfrm>
        </p:grpSpPr>
        <p:graphicFrame>
          <p:nvGraphicFramePr>
            <p:cNvPr id="5" name="Chart 4"/>
            <p:cNvGraphicFramePr/>
            <p:nvPr>
              <p:extLst>
                <p:ext uri="{D42A27DB-BD31-4B8C-83A1-F6EECF244321}">
                  <p14:modId xmlns:p14="http://schemas.microsoft.com/office/powerpoint/2010/main" val="2144167785"/>
                </p:ext>
              </p:extLst>
            </p:nvPr>
          </p:nvGraphicFramePr>
          <p:xfrm>
            <a:off x="-827813" y="-914401"/>
            <a:ext cx="9734550" cy="6353174"/>
          </p:xfrm>
          <a:graphic>
            <a:graphicData uri="http://schemas.openxmlformats.org/drawingml/2006/chart">
              <c:chart xmlns:c="http://schemas.openxmlformats.org/drawingml/2006/chart" xmlns:r="http://schemas.openxmlformats.org/officeDocument/2006/relationships" r:id="rId2"/>
            </a:graphicData>
          </a:graphic>
        </p:graphicFrame>
        <p:sp>
          <p:nvSpPr>
            <p:cNvPr id="6" name="Line Callout 1 5"/>
            <p:cNvSpPr/>
            <p:nvPr/>
          </p:nvSpPr>
          <p:spPr>
            <a:xfrm>
              <a:off x="5399605" y="4858015"/>
              <a:ext cx="1981200" cy="323850"/>
            </a:xfrm>
            <a:prstGeom prst="borderCallout1">
              <a:avLst>
                <a:gd name="adj1" fmla="val 54044"/>
                <a:gd name="adj2" fmla="val 99840"/>
                <a:gd name="adj3" fmla="val -15307"/>
                <a:gd name="adj4" fmla="val 15329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a:solidFill>
                    <a:sysClr val="windowText" lastClr="000000"/>
                  </a:solidFill>
                </a:rPr>
                <a:t>ETE:</a:t>
              </a:r>
              <a:r>
                <a:rPr lang="en-US" sz="1100" baseline="0">
                  <a:solidFill>
                    <a:sysClr val="windowText" lastClr="000000"/>
                  </a:solidFill>
                </a:rPr>
                <a:t> </a:t>
              </a:r>
              <a:r>
                <a:rPr lang="en-US" sz="1100">
                  <a:solidFill>
                    <a:sysClr val="windowText" lastClr="000000"/>
                  </a:solidFill>
                </a:rPr>
                <a:t>0,012</a:t>
              </a:r>
              <a:endParaRPr lang="el-GR" sz="1100">
                <a:solidFill>
                  <a:sysClr val="windowText" lastClr="000000"/>
                </a:solidFill>
              </a:endParaRPr>
            </a:p>
          </p:txBody>
        </p:sp>
        <p:sp>
          <p:nvSpPr>
            <p:cNvPr id="7" name="Line Callout 1 6"/>
            <p:cNvSpPr/>
            <p:nvPr/>
          </p:nvSpPr>
          <p:spPr>
            <a:xfrm>
              <a:off x="5392586" y="4207475"/>
              <a:ext cx="1981200" cy="323850"/>
            </a:xfrm>
            <a:prstGeom prst="borderCallout1">
              <a:avLst>
                <a:gd name="adj1" fmla="val 54044"/>
                <a:gd name="adj2" fmla="val 99840"/>
                <a:gd name="adj3" fmla="val 50735"/>
                <a:gd name="adj4" fmla="val 15481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a:solidFill>
                    <a:sysClr val="windowText" lastClr="000000"/>
                  </a:solidFill>
                </a:rPr>
                <a:t>ATTICA BANK:</a:t>
              </a:r>
              <a:r>
                <a:rPr lang="en-US" sz="1100" baseline="0">
                  <a:solidFill>
                    <a:sysClr val="windowText" lastClr="000000"/>
                  </a:solidFill>
                </a:rPr>
                <a:t> </a:t>
              </a:r>
              <a:r>
                <a:rPr lang="en-US" sz="1100">
                  <a:solidFill>
                    <a:sysClr val="windowText" lastClr="000000"/>
                  </a:solidFill>
                </a:rPr>
                <a:t>0,028</a:t>
              </a:r>
              <a:endParaRPr lang="el-GR" sz="1100">
                <a:solidFill>
                  <a:sysClr val="windowText" lastClr="000000"/>
                </a:solidFill>
              </a:endParaRPr>
            </a:p>
          </p:txBody>
        </p:sp>
        <p:sp>
          <p:nvSpPr>
            <p:cNvPr id="8" name="Line Callout 1 7"/>
            <p:cNvSpPr/>
            <p:nvPr/>
          </p:nvSpPr>
          <p:spPr>
            <a:xfrm>
              <a:off x="5546350" y="-82127"/>
              <a:ext cx="1981200" cy="323850"/>
            </a:xfrm>
            <a:prstGeom prst="borderCallout1">
              <a:avLst>
                <a:gd name="adj1" fmla="val 54044"/>
                <a:gd name="adj2" fmla="val 99840"/>
                <a:gd name="adj3" fmla="val -84394"/>
                <a:gd name="adj4" fmla="val 14676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a:solidFill>
                    <a:sysClr val="windowText" lastClr="000000"/>
                  </a:solidFill>
                </a:rPr>
                <a:t>APPLE</a:t>
              </a:r>
              <a:r>
                <a:rPr lang="en-US" sz="1100" baseline="0">
                  <a:solidFill>
                    <a:sysClr val="windowText" lastClr="000000"/>
                  </a:solidFill>
                </a:rPr>
                <a:t>: </a:t>
              </a:r>
              <a:r>
                <a:rPr lang="en-US" sz="1100">
                  <a:solidFill>
                    <a:sysClr val="windowText" lastClr="000000"/>
                  </a:solidFill>
                </a:rPr>
                <a:t>920,08</a:t>
              </a:r>
              <a:endParaRPr lang="el-GR" sz="1100">
                <a:solidFill>
                  <a:sysClr val="windowText" lastClr="000000"/>
                </a:solidFill>
              </a:endParaRPr>
            </a:p>
          </p:txBody>
        </p:sp>
        <p:sp>
          <p:nvSpPr>
            <p:cNvPr id="9" name="Line Callout 1 8"/>
            <p:cNvSpPr/>
            <p:nvPr/>
          </p:nvSpPr>
          <p:spPr>
            <a:xfrm>
              <a:off x="5546350" y="906470"/>
              <a:ext cx="1981200" cy="323850"/>
            </a:xfrm>
            <a:prstGeom prst="borderCallout1">
              <a:avLst>
                <a:gd name="adj1" fmla="val 54044"/>
                <a:gd name="adj2" fmla="val 99840"/>
                <a:gd name="adj3" fmla="val -58089"/>
                <a:gd name="adj4" fmla="val 14685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100">
                  <a:solidFill>
                    <a:sysClr val="windowText" lastClr="000000"/>
                  </a:solidFill>
                </a:rPr>
                <a:t>MSCI</a:t>
              </a:r>
              <a:r>
                <a:rPr lang="en-US" sz="1100" baseline="0">
                  <a:solidFill>
                    <a:sysClr val="windowText" lastClr="000000"/>
                  </a:solidFill>
                </a:rPr>
                <a:t> BRIC: </a:t>
              </a:r>
              <a:r>
                <a:rPr lang="en-US" sz="1100">
                  <a:solidFill>
                    <a:sysClr val="windowText" lastClr="000000"/>
                  </a:solidFill>
                </a:rPr>
                <a:t>85,67</a:t>
              </a:r>
              <a:endParaRPr lang="el-GR" sz="1100">
                <a:solidFill>
                  <a:sysClr val="windowText" lastClr="000000"/>
                </a:solidFill>
              </a:endParaRPr>
            </a:p>
          </p:txBody>
        </p:sp>
        <p:sp>
          <p:nvSpPr>
            <p:cNvPr id="10" name="Line Callout 1 9"/>
            <p:cNvSpPr/>
            <p:nvPr/>
          </p:nvSpPr>
          <p:spPr>
            <a:xfrm>
              <a:off x="5392586" y="3789877"/>
              <a:ext cx="1981200" cy="323850"/>
            </a:xfrm>
            <a:prstGeom prst="borderCallout1">
              <a:avLst>
                <a:gd name="adj1" fmla="val 54044"/>
                <a:gd name="adj2" fmla="val 99840"/>
                <a:gd name="adj3" fmla="val 126543"/>
                <a:gd name="adj4" fmla="val 154133"/>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l-GR" sz="1100">
                  <a:solidFill>
                    <a:sysClr val="windowText" lastClr="000000"/>
                  </a:solidFill>
                </a:rPr>
                <a:t>ΟΕΔ</a:t>
              </a:r>
              <a:r>
                <a:rPr lang="el-GR" sz="1100" baseline="0">
                  <a:solidFill>
                    <a:sysClr val="windowText" lastClr="000000"/>
                  </a:solidFill>
                </a:rPr>
                <a:t> (απόδοση)</a:t>
              </a:r>
              <a:r>
                <a:rPr lang="en-US" sz="1100">
                  <a:solidFill>
                    <a:sysClr val="windowText" lastClr="000000"/>
                  </a:solidFill>
                </a:rPr>
                <a:t>:</a:t>
              </a:r>
              <a:r>
                <a:rPr lang="en-US" sz="1100" baseline="0">
                  <a:solidFill>
                    <a:sysClr val="windowText" lastClr="000000"/>
                  </a:solidFill>
                </a:rPr>
                <a:t> </a:t>
              </a:r>
              <a:r>
                <a:rPr lang="el-GR" sz="1100">
                  <a:solidFill>
                    <a:sysClr val="windowText" lastClr="000000"/>
                  </a:solidFill>
                </a:rPr>
                <a:t>163,87</a:t>
              </a:r>
            </a:p>
          </p:txBody>
        </p:sp>
      </p:grpSp>
    </p:spTree>
    <p:extLst>
      <p:ext uri="{BB962C8B-B14F-4D97-AF65-F5344CB8AC3E}">
        <p14:creationId xmlns:p14="http://schemas.microsoft.com/office/powerpoint/2010/main" val="23269397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908720"/>
            <a:ext cx="8943069" cy="5544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440633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cwlv1OkFEidobbdW6pC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LVJximSEed2yqAkrxu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BFAq9o4RkiWtUHdBWl9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yubl.j.UESdvm06b2U5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oDeoCyZ.k2G1QW7VStv1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UCjKRWxgkC3SIIxkZI67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cwlv1OkFEidobbdW6pC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LVJximSEed2yqAkrxu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BFAq9o4RkiWtUHdBWl9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yubl.j.UESdvm06b2U5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oDeoCyZ.k2G1QW7VStv1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UCjKRWxgkC3SIIxkZI67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wlv1OkFEidobbdW6pC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LVJximSEed2yqAkrxu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BFAq9o4RkiWtUHdBWl9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yubl.j.UESdvm06b2U5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oDeoCyZ.k2G1QW7VStv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cwlv1OkFEidobbdW6pC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UCjKRWxgkC3SIIxkZI67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LVJximSEed2yqAkrxu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BFAq9o4RkiWtUHdBWl9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yubl.j.UESdvm06b2U5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oDeoCyZ.k2G1QW7VStv1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UCjKRWxgkC3SIIxkZI6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6</TotalTime>
  <Words>636</Words>
  <Application>Microsoft Office PowerPoint</Application>
  <PresentationFormat>Προβολή στην οθόνη (4:3)</PresentationFormat>
  <Paragraphs>96</Paragraphs>
  <Slides>27</Slides>
  <Notes>2</Notes>
  <HiddenSlides>0</HiddenSlides>
  <MMClips>0</MMClips>
  <ScaleCrop>false</ScaleCrop>
  <HeadingPairs>
    <vt:vector size="6" baseType="variant">
      <vt:variant>
        <vt:lpstr>Θέμα</vt:lpstr>
      </vt:variant>
      <vt:variant>
        <vt:i4>1</vt:i4>
      </vt:variant>
      <vt:variant>
        <vt:lpstr>Ενσωματωμένοι διακομιστές OLE</vt:lpstr>
      </vt:variant>
      <vt:variant>
        <vt:i4>2</vt:i4>
      </vt:variant>
      <vt:variant>
        <vt:lpstr>Τίτλοι διαφανειών</vt:lpstr>
      </vt:variant>
      <vt:variant>
        <vt:i4>27</vt:i4>
      </vt:variant>
    </vt:vector>
  </HeadingPairs>
  <TitlesOfParts>
    <vt:vector size="30" baseType="lpstr">
      <vt:lpstr>Office Theme</vt:lpstr>
      <vt:lpstr>think-cell Slide</vt:lpstr>
      <vt:lpstr>Worksheet</vt:lpstr>
      <vt:lpstr>Θεωρία  κύκλου ζωής ,συμπεριφορικά σφάλαματα και χρηματοοικονομικός προγραμματισμός    Νίκος Δ. Φίλιππας</vt:lpstr>
      <vt:lpstr>Μυωπία</vt:lpstr>
      <vt:lpstr>Μυωπία</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Behavioral time machine</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vector>
  </TitlesOfParts>
  <Company>Interamerica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ΦΑΡΜΑΚΗ ΧΛΟΗ</dc:creator>
  <cp:lastModifiedBy>Katerina Morou</cp:lastModifiedBy>
  <cp:revision>13</cp:revision>
  <dcterms:created xsi:type="dcterms:W3CDTF">2017-03-28T12:41:56Z</dcterms:created>
  <dcterms:modified xsi:type="dcterms:W3CDTF">2017-03-28T20:34:01Z</dcterms:modified>
</cp:coreProperties>
</file>